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wmv" ContentType="video/x-ms-wmv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4"/>
  </p:sldMasterIdLst>
  <p:notesMasterIdLst>
    <p:notesMasterId r:id="rId8"/>
  </p:notesMasterIdLst>
  <p:handoutMasterIdLst>
    <p:handoutMasterId r:id="rId9"/>
  </p:handoutMasterIdLst>
  <p:sldIdLst>
    <p:sldId id="514" r:id="rId5"/>
    <p:sldId id="515" r:id="rId6"/>
    <p:sldId id="516" r:id="rId7"/>
  </p:sldIdLst>
  <p:sldSz cx="9144000" cy="6858000" type="screen4x3"/>
  <p:notesSz cx="7102475" cy="10234613"/>
  <p:custDataLst>
    <p:tags r:id="rId10"/>
  </p:custDataLst>
  <p:defaultTextStyle>
    <a:defPPr>
      <a:defRPr lang="de-CH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1" autoAdjust="0"/>
    <p:restoredTop sz="98224" autoAdjust="0"/>
  </p:normalViewPr>
  <p:slideViewPr>
    <p:cSldViewPr>
      <p:cViewPr varScale="1">
        <p:scale>
          <a:sx n="86" d="100"/>
          <a:sy n="86" d="100"/>
        </p:scale>
        <p:origin x="1458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906"/>
    </p:cViewPr>
  </p:sorterViewPr>
  <p:notesViewPr>
    <p:cSldViewPr>
      <p:cViewPr varScale="1">
        <p:scale>
          <a:sx n="61" d="100"/>
          <a:sy n="61" d="100"/>
        </p:scale>
        <p:origin x="-3402" y="-90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77740" cy="511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0" tIns="47330" rIns="94660" bIns="4733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3081" y="0"/>
            <a:ext cx="3077740" cy="511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0" tIns="47330" rIns="94660" bIns="4733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721495"/>
            <a:ext cx="3077740" cy="51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0" tIns="47330" rIns="94660" bIns="4733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3081" y="9721495"/>
            <a:ext cx="3077740" cy="51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0" tIns="47330" rIns="94660" bIns="4733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70D2EEBC-8C06-4C8A-92FA-B44264434501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38009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77740" cy="511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0" tIns="47330" rIns="94660" bIns="4733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3081" y="0"/>
            <a:ext cx="3077740" cy="511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0" tIns="47330" rIns="94660" bIns="4733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471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6950" y="768350"/>
            <a:ext cx="5113338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248" y="4861565"/>
            <a:ext cx="5681980" cy="4605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0" tIns="47330" rIns="94660" bIns="473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Click to edit Master text styles</a:t>
            </a:r>
          </a:p>
          <a:p>
            <a:pPr lvl="1"/>
            <a:r>
              <a:rPr lang="de-CH" noProof="0"/>
              <a:t>Second level</a:t>
            </a:r>
          </a:p>
          <a:p>
            <a:pPr lvl="2"/>
            <a:r>
              <a:rPr lang="de-CH" noProof="0"/>
              <a:t>Third level</a:t>
            </a:r>
          </a:p>
          <a:p>
            <a:pPr lvl="3"/>
            <a:r>
              <a:rPr lang="de-CH" noProof="0"/>
              <a:t>Fourth level</a:t>
            </a:r>
          </a:p>
          <a:p>
            <a:pPr lvl="4"/>
            <a:r>
              <a:rPr lang="de-CH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721495"/>
            <a:ext cx="3077740" cy="51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0" tIns="47330" rIns="94660" bIns="4733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3081" y="9721495"/>
            <a:ext cx="3077740" cy="51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0" tIns="47330" rIns="94660" bIns="4733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A693C6A0-515B-4406-A538-53F2E1E7B336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62785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93C6A0-515B-4406-A538-53F2E1E7B336}" type="slidenum">
              <a:rPr lang="de-CH" smtClean="0"/>
              <a:pPr>
                <a:defRPr/>
              </a:pPr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5430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93C6A0-515B-4406-A538-53F2E1E7B336}" type="slidenum">
              <a:rPr lang="de-CH" smtClean="0"/>
              <a:pPr>
                <a:defRPr/>
              </a:pPr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5430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3" name="think-cell Slide" r:id="rId4" imgW="482" imgH="481" progId="TCLayout.ActiveDocument.1">
                  <p:embed/>
                </p:oleObj>
              </mc:Choice>
              <mc:Fallback>
                <p:oleObj name="think-cell Slide" r:id="rId4" imgW="482" imgH="48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1587541" y="0"/>
            <a:ext cx="7556460" cy="6858000"/>
          </a:xfrm>
          <a:custGeom>
            <a:avLst/>
            <a:gdLst/>
            <a:ahLst/>
            <a:cxnLst/>
            <a:rect l="l" t="t" r="r" b="b"/>
            <a:pathLst>
              <a:path w="7556460" h="5143500">
                <a:moveTo>
                  <a:pt x="2989225" y="0"/>
                </a:moveTo>
                <a:lnTo>
                  <a:pt x="7556460" y="0"/>
                </a:lnTo>
                <a:lnTo>
                  <a:pt x="755646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179996" indent="-179996" algn="r">
              <a:buNone/>
              <a:defRPr lang="de-DE" dirty="0"/>
            </a:lvl1pPr>
          </a:lstStyle>
          <a:p>
            <a:pPr marL="0" lvl="0" indent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5" y="1460941"/>
            <a:ext cx="2881077" cy="1139967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8775" y="2650967"/>
            <a:ext cx="2483999" cy="8740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350" b="1">
                <a:solidFill>
                  <a:schemeClr val="accent5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39" y="452968"/>
            <a:ext cx="162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5362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/>
          <p:cNvSpPr/>
          <p:nvPr userDrawn="1"/>
        </p:nvSpPr>
        <p:spPr>
          <a:xfrm>
            <a:off x="0" y="1"/>
            <a:ext cx="9144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2400" noProof="0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92299" y="6481449"/>
            <a:ext cx="4647853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470315"/>
            <a:ext cx="378042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4" y="1613182"/>
            <a:ext cx="6481478" cy="144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Inhaltsplatzhalter 2"/>
          <p:cNvSpPr>
            <a:spLocks noGrp="1"/>
          </p:cNvSpPr>
          <p:nvPr>
            <p:ph idx="10"/>
          </p:nvPr>
        </p:nvSpPr>
        <p:spPr>
          <a:xfrm>
            <a:off x="358774" y="3105064"/>
            <a:ext cx="3601158" cy="267555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655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1"/>
            <a:ext cx="9144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92299" y="6481449"/>
            <a:ext cx="4647853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470315"/>
            <a:ext cx="378042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4" y="1613182"/>
            <a:ext cx="6481478" cy="144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Inhaltsplatzhalter 2"/>
          <p:cNvSpPr>
            <a:spLocks noGrp="1"/>
          </p:cNvSpPr>
          <p:nvPr>
            <p:ph idx="10"/>
          </p:nvPr>
        </p:nvSpPr>
        <p:spPr>
          <a:xfrm>
            <a:off x="358774" y="3105064"/>
            <a:ext cx="3601158" cy="267555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5083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/>
          <p:cNvSpPr/>
          <p:nvPr userDrawn="1"/>
        </p:nvSpPr>
        <p:spPr>
          <a:xfrm>
            <a:off x="0" y="1"/>
            <a:ext cx="9144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2400" noProof="0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92299" y="6481449"/>
            <a:ext cx="4647853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470315"/>
            <a:ext cx="378042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3" y="1613182"/>
            <a:ext cx="4860000" cy="157217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0"/>
          </p:nvPr>
        </p:nvSpPr>
        <p:spPr>
          <a:xfrm>
            <a:off x="3731036" y="-1"/>
            <a:ext cx="5412964" cy="630961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5080" y="1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508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33293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 with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1"/>
            <a:ext cx="9144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92299" y="6481449"/>
            <a:ext cx="4647853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470315"/>
            <a:ext cx="378042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3" y="1613182"/>
            <a:ext cx="4860000" cy="157217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0"/>
          </p:nvPr>
        </p:nvSpPr>
        <p:spPr>
          <a:xfrm>
            <a:off x="3731036" y="-1"/>
            <a:ext cx="5412964" cy="630961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5080" y="1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508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7219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359569" y="1591200"/>
            <a:ext cx="8424000" cy="44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88393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dynamic surf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"/>
          <p:cNvSpPr/>
          <p:nvPr userDrawn="1"/>
        </p:nvSpPr>
        <p:spPr>
          <a:xfrm>
            <a:off x="6158754" y="0"/>
            <a:ext cx="2985247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359100" y="1591200"/>
            <a:ext cx="6480000" cy="44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2400" y="6469200"/>
            <a:ext cx="104013" cy="215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2768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lored are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-1"/>
            <a:ext cx="9144000" cy="63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359568" y="1591200"/>
            <a:ext cx="8424000" cy="4428000"/>
          </a:xfrm>
        </p:spPr>
        <p:txBody>
          <a:bodyPr/>
          <a:lstStyle>
            <a:lvl1pP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45793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lored are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1"/>
            <a:ext cx="9144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3"/>
          </p:nvPr>
        </p:nvSpPr>
        <p:spPr>
          <a:xfrm>
            <a:off x="359568" y="1591200"/>
            <a:ext cx="8424000" cy="4428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66049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4679100" y="1591200"/>
            <a:ext cx="4104000" cy="44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4"/>
          </p:nvPr>
        </p:nvSpPr>
        <p:spPr>
          <a:xfrm>
            <a:off x="359569" y="1591200"/>
            <a:ext cx="4104000" cy="44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00085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dynamic surf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6158753" y="0"/>
            <a:ext cx="2985247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4" name="Inhaltsplatzhalter 7"/>
          <p:cNvSpPr>
            <a:spLocks noGrp="1"/>
          </p:cNvSpPr>
          <p:nvPr>
            <p:ph sz="quarter" idx="13"/>
          </p:nvPr>
        </p:nvSpPr>
        <p:spPr>
          <a:xfrm>
            <a:off x="4679100" y="1591200"/>
            <a:ext cx="4104000" cy="44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Inhaltsplatzhalter 7"/>
          <p:cNvSpPr>
            <a:spLocks noGrp="1"/>
          </p:cNvSpPr>
          <p:nvPr>
            <p:ph sz="quarter" idx="14"/>
          </p:nvPr>
        </p:nvSpPr>
        <p:spPr>
          <a:xfrm>
            <a:off x="359569" y="1591200"/>
            <a:ext cx="4104000" cy="44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2400" y="6469200"/>
            <a:ext cx="104013" cy="215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812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3419872" y="0"/>
            <a:ext cx="5724128" cy="6858000"/>
          </a:xfrm>
          <a:custGeom>
            <a:avLst/>
            <a:gdLst/>
            <a:ahLst/>
            <a:cxnLst/>
            <a:rect l="l" t="t" r="r" b="b"/>
            <a:pathLst>
              <a:path w="5724128" h="5143500">
                <a:moveTo>
                  <a:pt x="2989225" y="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179996" indent="-179996" algn="r">
              <a:buNone/>
              <a:defRPr lang="de-DE" dirty="0"/>
            </a:lvl1pPr>
          </a:lstStyle>
          <a:p>
            <a:pPr marL="0" lvl="0" indent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4" y="1460942"/>
            <a:ext cx="4321238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8774" y="3140969"/>
            <a:ext cx="4321238" cy="8740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350" b="1">
                <a:solidFill>
                  <a:schemeClr val="accent5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39" y="452968"/>
            <a:ext cx="162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8646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358776" y="1653118"/>
            <a:ext cx="4104878" cy="43682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/>
          </p:nvPr>
        </p:nvSpPr>
        <p:spPr>
          <a:xfrm>
            <a:off x="4679100" y="1591200"/>
            <a:ext cx="4104000" cy="44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574306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679950" y="1653117"/>
            <a:ext cx="4105275" cy="4368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Inhaltsplatzhalter 7"/>
          <p:cNvSpPr>
            <a:spLocks noGrp="1"/>
          </p:cNvSpPr>
          <p:nvPr>
            <p:ph sz="quarter" idx="15"/>
          </p:nvPr>
        </p:nvSpPr>
        <p:spPr>
          <a:xfrm>
            <a:off x="359569" y="1591200"/>
            <a:ext cx="4104000" cy="44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04851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9569" y="377741"/>
            <a:ext cx="4104482" cy="99903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292299" y="6469556"/>
            <a:ext cx="3159000" cy="187694"/>
          </a:xfrm>
        </p:spPr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679950" y="0"/>
            <a:ext cx="44640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Inhaltsplatzhalter 7"/>
          <p:cNvSpPr>
            <a:spLocks noGrp="1"/>
          </p:cNvSpPr>
          <p:nvPr>
            <p:ph sz="quarter" idx="15"/>
          </p:nvPr>
        </p:nvSpPr>
        <p:spPr>
          <a:xfrm>
            <a:off x="359569" y="1591200"/>
            <a:ext cx="4104000" cy="44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65695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680347" y="1653117"/>
            <a:ext cx="4103651" cy="28321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359569" y="1653118"/>
            <a:ext cx="4104085" cy="28320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7"/>
          </p:nvPr>
        </p:nvSpPr>
        <p:spPr>
          <a:xfrm>
            <a:off x="359569" y="4677140"/>
            <a:ext cx="4104085" cy="134414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Inhaltsplatzhalter 3"/>
          <p:cNvSpPr>
            <a:spLocks noGrp="1"/>
          </p:cNvSpPr>
          <p:nvPr>
            <p:ph sz="quarter" idx="18"/>
          </p:nvPr>
        </p:nvSpPr>
        <p:spPr>
          <a:xfrm>
            <a:off x="4680348" y="4677140"/>
            <a:ext cx="4104085" cy="134414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48618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239854" y="1653119"/>
            <a:ext cx="2665052" cy="23042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358775" y="1653120"/>
            <a:ext cx="2665054" cy="23042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7"/>
          </p:nvPr>
        </p:nvSpPr>
        <p:spPr>
          <a:xfrm>
            <a:off x="6120174" y="1652806"/>
            <a:ext cx="2664296" cy="23042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Inhaltsplatzhalter 3"/>
          <p:cNvSpPr>
            <a:spLocks noGrp="1"/>
          </p:cNvSpPr>
          <p:nvPr>
            <p:ph sz="quarter" idx="19"/>
          </p:nvPr>
        </p:nvSpPr>
        <p:spPr>
          <a:xfrm>
            <a:off x="359569" y="4181794"/>
            <a:ext cx="2664260" cy="184012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Inhaltsplatzhalter 3"/>
          <p:cNvSpPr>
            <a:spLocks noGrp="1"/>
          </p:cNvSpPr>
          <p:nvPr>
            <p:ph sz="quarter" idx="20"/>
          </p:nvPr>
        </p:nvSpPr>
        <p:spPr>
          <a:xfrm>
            <a:off x="3239653" y="4181794"/>
            <a:ext cx="2664260" cy="184012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Inhaltsplatzhalter 3"/>
          <p:cNvSpPr>
            <a:spLocks noGrp="1"/>
          </p:cNvSpPr>
          <p:nvPr>
            <p:ph sz="quarter" idx="21"/>
          </p:nvPr>
        </p:nvSpPr>
        <p:spPr>
          <a:xfrm>
            <a:off x="6120191" y="4181794"/>
            <a:ext cx="2664260" cy="184012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57632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309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545220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359569" y="476672"/>
            <a:ext cx="8424863" cy="5544716"/>
          </a:xfrm>
          <a:prstGeom prst="rect">
            <a:avLst/>
          </a:prstGeom>
          <a:noFill/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0504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85500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57725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and colored are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"/>
          <p:cNvSpPr/>
          <p:nvPr userDrawn="1"/>
        </p:nvSpPr>
        <p:spPr>
          <a:xfrm>
            <a:off x="6158753" y="0"/>
            <a:ext cx="2985247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569" y="1592264"/>
            <a:ext cx="6480000" cy="4429125"/>
          </a:xfrm>
        </p:spPr>
        <p:txBody>
          <a:bodyPr/>
          <a:lstStyle>
            <a:lvl1pPr>
              <a:spcBef>
                <a:spcPts val="75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06427" y="6468071"/>
            <a:ext cx="108482" cy="21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218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silhouetted pictur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014000" y="0"/>
            <a:ext cx="5130000" cy="6858000"/>
          </a:xfrm>
          <a:prstGeom prst="rect">
            <a:avLst/>
          </a:prstGeom>
          <a:noFill/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4" y="1460941"/>
            <a:ext cx="2880900" cy="11412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8774" y="2649600"/>
            <a:ext cx="2483999" cy="874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350" b="1">
                <a:solidFill>
                  <a:schemeClr val="accent5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39" y="452968"/>
            <a:ext cx="162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914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evider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358775" y="6261315"/>
            <a:ext cx="8497701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92299" y="6481449"/>
            <a:ext cx="4647853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470315"/>
            <a:ext cx="378042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0"/>
          </p:nvPr>
        </p:nvSpPr>
        <p:spPr>
          <a:xfrm>
            <a:off x="3731036" y="-1"/>
            <a:ext cx="5412964" cy="630961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5080" y="1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508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59569" y="377741"/>
            <a:ext cx="8424428" cy="999031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359569" y="1592264"/>
            <a:ext cx="6480000" cy="4429125"/>
          </a:xfrm>
        </p:spPr>
        <p:txBody>
          <a:bodyPr/>
          <a:lstStyle>
            <a:lvl1pPr>
              <a:spcBef>
                <a:spcPts val="75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2192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4" y="1460942"/>
            <a:ext cx="4321238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8774" y="3140969"/>
            <a:ext cx="4321238" cy="8740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350" b="1">
                <a:solidFill>
                  <a:schemeClr val="accent5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6" name="Rechteck 7"/>
          <p:cNvSpPr/>
          <p:nvPr userDrawn="1"/>
        </p:nvSpPr>
        <p:spPr>
          <a:xfrm>
            <a:off x="3419872" y="0"/>
            <a:ext cx="5724128" cy="6858000"/>
          </a:xfrm>
          <a:custGeom>
            <a:avLst/>
            <a:gdLst/>
            <a:ahLst/>
            <a:cxnLst/>
            <a:rect l="l" t="t" r="r" b="b"/>
            <a:pathLst>
              <a:path w="5724128" h="5143500">
                <a:moveTo>
                  <a:pt x="2989225" y="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39" y="452968"/>
            <a:ext cx="162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511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7"/>
          <p:cNvSpPr/>
          <p:nvPr userDrawn="1"/>
        </p:nvSpPr>
        <p:spPr>
          <a:xfrm>
            <a:off x="5247075" y="0"/>
            <a:ext cx="3896925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4128" h="5143500">
                <a:moveTo>
                  <a:pt x="4342866" y="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lnTo>
                  <a:pt x="434286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4" y="1460942"/>
            <a:ext cx="7021538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8774" y="3140969"/>
            <a:ext cx="7021538" cy="8740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350" b="1">
                <a:solidFill>
                  <a:schemeClr val="accent5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39" y="452968"/>
            <a:ext cx="162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8473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3" y="2531113"/>
            <a:ext cx="6210000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8773" y="3717032"/>
            <a:ext cx="6210000" cy="90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350" b="1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39" y="452968"/>
            <a:ext cx="162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018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3" y="2531113"/>
            <a:ext cx="6210000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8773" y="3717032"/>
            <a:ext cx="6210000" cy="90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350" b="1">
                <a:solidFill>
                  <a:schemeClr val="accent5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39" y="452968"/>
            <a:ext cx="162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882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/>
          <p:cNvSpPr/>
          <p:nvPr userDrawn="1"/>
        </p:nvSpPr>
        <p:spPr>
          <a:xfrm>
            <a:off x="0" y="1"/>
            <a:ext cx="9144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2400" noProof="0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92299" y="6481449"/>
            <a:ext cx="4647853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470315"/>
            <a:ext cx="378042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4" y="1613182"/>
            <a:ext cx="6481478" cy="157217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50918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1"/>
            <a:ext cx="9144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92299" y="6481449"/>
            <a:ext cx="4647853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470315"/>
            <a:ext cx="378042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8774" y="1613182"/>
            <a:ext cx="6481478" cy="157217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016161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1.emf"/><Relationship Id="rId40" Type="http://schemas.openxmlformats.org/officeDocument/2006/relationships/oleObject" Target="../embeddings/oleObject2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4" name="think-cell Slide" r:id="rId36" imgW="482" imgH="481" progId="TCLayout.ActiveDocument.1">
                  <p:embed/>
                </p:oleObj>
              </mc:Choice>
              <mc:Fallback>
                <p:oleObj name="think-cell Slide" r:id="rId36" imgW="482" imgH="48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59569" y="377741"/>
            <a:ext cx="8424428" cy="9990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92299" y="6469556"/>
            <a:ext cx="6763088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ismic C1 and C2 | July, 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470315"/>
            <a:ext cx="378042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39" y="6467605"/>
            <a:ext cx="648000" cy="205286"/>
          </a:xfrm>
          <a:prstGeom prst="rect">
            <a:avLst/>
          </a:prstGeom>
        </p:spPr>
      </p:pic>
      <p:sp>
        <p:nvSpPr>
          <p:cNvPr id="39" name="Textplatzhalter 38"/>
          <p:cNvSpPr>
            <a:spLocks noGrp="1"/>
          </p:cNvSpPr>
          <p:nvPr>
            <p:ph type="body" idx="1"/>
          </p:nvPr>
        </p:nvSpPr>
        <p:spPr>
          <a:xfrm>
            <a:off x="359100" y="1591200"/>
            <a:ext cx="8424000" cy="442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900" marR="0" lvl="0" indent="-180900" algn="l" defTabSz="914378" rtl="0" eaLnBrk="1" fontAlgn="auto" latinLnBrk="0" hangingPunct="1">
              <a:lnSpc>
                <a:spcPct val="107000"/>
              </a:lnSpc>
              <a:spcBef>
                <a:spcPts val="750"/>
              </a:spcBef>
              <a:spcAft>
                <a:spcPts val="0"/>
              </a:spcAft>
              <a:buClr>
                <a:srgbClr val="524F53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359100" marR="0" lvl="1" indent="-179996" algn="l" defTabSz="914378" rtl="0" eaLnBrk="1" fontAlgn="auto" latinLnBrk="0" hangingPunct="1">
              <a:lnSpc>
                <a:spcPct val="107000"/>
              </a:lnSpc>
              <a:spcBef>
                <a:spcPts val="45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540000" marR="0" lvl="2" indent="-179996" algn="l" defTabSz="914378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720900" marR="0" lvl="3" indent="-179996" algn="l" defTabSz="914378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899100" marR="0" lvl="4" indent="-180900" algn="l" defTabSz="914378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2400" y="6469200"/>
            <a:ext cx="104013" cy="215646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/>
          </p:nvPr>
        </p:nvGraphicFramePr>
        <p:xfrm>
          <a:off x="115492" y="1539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5" name="think-cell Slide" r:id="rId40" imgW="482" imgH="481" progId="TCLayout.ActiveDocument.1">
                  <p:embed/>
                </p:oleObj>
              </mc:Choice>
              <mc:Fallback>
                <p:oleObj name="think-cell Slide" r:id="rId40" imgW="482" imgH="481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15492" y="1539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mpower - DO NOT DELETE!!!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55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</p:sldLayoutIdLst>
  <p:hf hdr="0" dt="0"/>
  <p:txStyles>
    <p:titleStyle>
      <a:lvl1pPr algn="l" defTabSz="914378" rtl="0" eaLnBrk="1" latinLnBrk="0" hangingPunct="1">
        <a:lnSpc>
          <a:spcPts val="2453"/>
        </a:lnSpc>
        <a:spcBef>
          <a:spcPct val="0"/>
        </a:spcBef>
        <a:buNone/>
        <a:defRPr sz="225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900" marR="0" indent="-180900" algn="l" defTabSz="914378" rtl="0" eaLnBrk="1" fontAlgn="auto" latinLnBrk="0" hangingPunct="1">
        <a:lnSpc>
          <a:spcPct val="107000"/>
        </a:lnSpc>
        <a:spcBef>
          <a:spcPts val="750"/>
        </a:spcBef>
        <a:spcAft>
          <a:spcPts val="0"/>
        </a:spcAft>
        <a:buClr>
          <a:srgbClr val="524F53">
            <a:lumMod val="60000"/>
            <a:lumOff val="40000"/>
          </a:srgbClr>
        </a:buClr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59100" marR="0" indent="-179996" algn="l" defTabSz="914378" rtl="0" eaLnBrk="1" fontAlgn="auto" latinLnBrk="0" hangingPunct="1">
        <a:lnSpc>
          <a:spcPct val="107000"/>
        </a:lnSpc>
        <a:spcBef>
          <a:spcPts val="450"/>
        </a:spcBef>
        <a:spcAft>
          <a:spcPts val="0"/>
        </a:spcAft>
        <a:buClr>
          <a:prstClr val="white">
            <a:lumMod val="65000"/>
          </a:prstClr>
        </a:buClr>
        <a:buSzTx/>
        <a:buFont typeface="Arial" panose="020B0604020202020204" pitchFamily="34" charset="0"/>
        <a:buChar char="–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marR="0" indent="-179996" algn="l" defTabSz="914378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>
          <a:prstClr val="white">
            <a:lumMod val="65000"/>
          </a:prstClr>
        </a:buClr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720900" marR="0" indent="-179996" algn="l" defTabSz="914378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>
          <a:prstClr val="white">
            <a:lumMod val="65000"/>
          </a:prstClr>
        </a:buClr>
        <a:buSzTx/>
        <a:buFont typeface="Arial" panose="020B0604020202020204" pitchFamily="34" charset="0"/>
        <a:buChar char="–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99100" marR="0" indent="-180900" algn="l" defTabSz="914378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>
          <a:prstClr val="white">
            <a:lumMod val="65000"/>
          </a:prstClr>
        </a:buClr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03">
          <p15:clr>
            <a:srgbClr val="F26B43"/>
          </p15:clr>
        </p15:guide>
        <p15:guide id="2" pos="3749">
          <p15:clr>
            <a:srgbClr val="F26B43"/>
          </p15:clr>
        </p15:guide>
        <p15:guide id="3" pos="3931">
          <p15:clr>
            <a:srgbClr val="F26B43"/>
          </p15:clr>
        </p15:guide>
        <p15:guide id="4" pos="7378">
          <p15:clr>
            <a:srgbClr val="F26B43"/>
          </p15:clr>
        </p15:guide>
        <p15:guide id="5" pos="302">
          <p15:clr>
            <a:srgbClr val="F26B43"/>
          </p15:clr>
        </p15:guide>
        <p15:guide id="6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hyperlink" Target="http://www.google.pt/url?sa=i&amp;rct=j&amp;q=&amp;esrc=s&amp;frm=1&amp;source=images&amp;cd=&amp;cad=rja&amp;docid=YvI4CaaZETTsVM&amp;tbnid=28d8cDWR6-p4zM:&amp;ved=0CAUQjRw&amp;url=http://www.amazon.com/5mm-Metric-Flat-Washer-count/dp/B000ODRFFG&amp;ei=BgwwUpPfGaLA0QW9noCADQ&amp;bvm=bv.51773540,d.ZGU&amp;psig=AFQjCNGnjt_AymMqC1Jmha5K0xQeA0zdwg&amp;ust=1378966900845348" TargetMode="Externa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notesSlide" Target="../notesSlides/notesSlide1.xml"/><Relationship Id="rId42" Type="http://schemas.openxmlformats.org/officeDocument/2006/relationships/image" Target="../media/image9.png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slideLayout" Target="../slideLayouts/slideLayout14.xml"/><Relationship Id="rId38" Type="http://schemas.openxmlformats.org/officeDocument/2006/relationships/image" Target="cid:image004.jpg@01CE6045.0FBEB750" TargetMode="Externa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41" Type="http://schemas.microsoft.com/office/2007/relationships/hdphoto" Target="../media/hdphoto2.wdp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microsoft.com/office/2007/relationships/hdphoto" Target="../media/hdphoto1.wdp"/><Relationship Id="rId40" Type="http://schemas.openxmlformats.org/officeDocument/2006/relationships/image" Target="../media/image8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image" Target="../media/image7.png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image" Target="../media/image10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image" Target="../media/image6.jpeg"/><Relationship Id="rId43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tags" Target="../tags/tag64.xml"/><Relationship Id="rId39" Type="http://schemas.openxmlformats.org/officeDocument/2006/relationships/tags" Target="../tags/tag77.xml"/><Relationship Id="rId21" Type="http://schemas.openxmlformats.org/officeDocument/2006/relationships/tags" Target="../tags/tag59.xml"/><Relationship Id="rId34" Type="http://schemas.openxmlformats.org/officeDocument/2006/relationships/tags" Target="../tags/tag72.xml"/><Relationship Id="rId42" Type="http://schemas.openxmlformats.org/officeDocument/2006/relationships/tags" Target="../tags/tag80.xml"/><Relationship Id="rId47" Type="http://schemas.openxmlformats.org/officeDocument/2006/relationships/tags" Target="../tags/tag85.xml"/><Relationship Id="rId50" Type="http://schemas.openxmlformats.org/officeDocument/2006/relationships/tags" Target="../tags/tag88.xml"/><Relationship Id="rId55" Type="http://schemas.openxmlformats.org/officeDocument/2006/relationships/tags" Target="../tags/tag93.xml"/><Relationship Id="rId63" Type="http://schemas.openxmlformats.org/officeDocument/2006/relationships/tags" Target="../tags/tag101.xml"/><Relationship Id="rId68" Type="http://schemas.openxmlformats.org/officeDocument/2006/relationships/tags" Target="../tags/tag106.xml"/><Relationship Id="rId76" Type="http://schemas.openxmlformats.org/officeDocument/2006/relationships/hyperlink" Target="http://www.google.pt/url?sa=i&amp;rct=j&amp;q=&amp;esrc=s&amp;frm=1&amp;source=images&amp;cd=&amp;cad=rja&amp;docid=YvI4CaaZETTsVM&amp;tbnid=28d8cDWR6-p4zM:&amp;ved=0CAUQjRw&amp;url=http://www.amazon.com/5mm-Metric-Flat-Washer-count/dp/B000ODRFFG&amp;ei=BgwwUpPfGaLA0QW9noCADQ&amp;bvm=bv.51773540,d.ZGU&amp;psig=AFQjCNGnjt_AymMqC1Jmha5K0xQeA0zdwg&amp;ust=1378966900845348" TargetMode="External"/><Relationship Id="rId7" Type="http://schemas.openxmlformats.org/officeDocument/2006/relationships/tags" Target="../tags/tag45.xml"/><Relationship Id="rId71" Type="http://schemas.openxmlformats.org/officeDocument/2006/relationships/notesSlide" Target="../notesSlides/notesSlide2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9" Type="http://schemas.openxmlformats.org/officeDocument/2006/relationships/tags" Target="../tags/tag67.xml"/><Relationship Id="rId11" Type="http://schemas.openxmlformats.org/officeDocument/2006/relationships/tags" Target="../tags/tag49.xml"/><Relationship Id="rId24" Type="http://schemas.openxmlformats.org/officeDocument/2006/relationships/tags" Target="../tags/tag62.xml"/><Relationship Id="rId32" Type="http://schemas.openxmlformats.org/officeDocument/2006/relationships/tags" Target="../tags/tag70.xml"/><Relationship Id="rId37" Type="http://schemas.openxmlformats.org/officeDocument/2006/relationships/tags" Target="../tags/tag75.xml"/><Relationship Id="rId40" Type="http://schemas.openxmlformats.org/officeDocument/2006/relationships/tags" Target="../tags/tag78.xml"/><Relationship Id="rId45" Type="http://schemas.openxmlformats.org/officeDocument/2006/relationships/tags" Target="../tags/tag83.xml"/><Relationship Id="rId53" Type="http://schemas.openxmlformats.org/officeDocument/2006/relationships/tags" Target="../tags/tag91.xml"/><Relationship Id="rId58" Type="http://schemas.openxmlformats.org/officeDocument/2006/relationships/tags" Target="../tags/tag96.xml"/><Relationship Id="rId66" Type="http://schemas.openxmlformats.org/officeDocument/2006/relationships/tags" Target="../tags/tag104.xml"/><Relationship Id="rId74" Type="http://schemas.microsoft.com/office/2007/relationships/hdphoto" Target="../media/hdphoto1.wdp"/><Relationship Id="rId79" Type="http://schemas.openxmlformats.org/officeDocument/2006/relationships/image" Target="../media/image9.png"/><Relationship Id="rId5" Type="http://schemas.openxmlformats.org/officeDocument/2006/relationships/tags" Target="../tags/tag43.xml"/><Relationship Id="rId61" Type="http://schemas.openxmlformats.org/officeDocument/2006/relationships/tags" Target="../tags/tag99.xml"/><Relationship Id="rId82" Type="http://schemas.openxmlformats.org/officeDocument/2006/relationships/image" Target="../media/image12.jpeg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31" Type="http://schemas.openxmlformats.org/officeDocument/2006/relationships/tags" Target="../tags/tag69.xml"/><Relationship Id="rId44" Type="http://schemas.openxmlformats.org/officeDocument/2006/relationships/tags" Target="../tags/tag82.xml"/><Relationship Id="rId52" Type="http://schemas.openxmlformats.org/officeDocument/2006/relationships/tags" Target="../tags/tag90.xml"/><Relationship Id="rId60" Type="http://schemas.openxmlformats.org/officeDocument/2006/relationships/tags" Target="../tags/tag98.xml"/><Relationship Id="rId65" Type="http://schemas.openxmlformats.org/officeDocument/2006/relationships/tags" Target="../tags/tag103.xml"/><Relationship Id="rId73" Type="http://schemas.openxmlformats.org/officeDocument/2006/relationships/image" Target="../media/image7.png"/><Relationship Id="rId78" Type="http://schemas.microsoft.com/office/2007/relationships/hdphoto" Target="../media/hdphoto2.wdp"/><Relationship Id="rId81" Type="http://schemas.openxmlformats.org/officeDocument/2006/relationships/image" Target="../media/image11.png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30" Type="http://schemas.openxmlformats.org/officeDocument/2006/relationships/tags" Target="../tags/tag68.xml"/><Relationship Id="rId35" Type="http://schemas.openxmlformats.org/officeDocument/2006/relationships/tags" Target="../tags/tag73.xml"/><Relationship Id="rId43" Type="http://schemas.openxmlformats.org/officeDocument/2006/relationships/tags" Target="../tags/tag81.xml"/><Relationship Id="rId48" Type="http://schemas.openxmlformats.org/officeDocument/2006/relationships/tags" Target="../tags/tag86.xml"/><Relationship Id="rId56" Type="http://schemas.openxmlformats.org/officeDocument/2006/relationships/tags" Target="../tags/tag94.xml"/><Relationship Id="rId64" Type="http://schemas.openxmlformats.org/officeDocument/2006/relationships/tags" Target="../tags/tag102.xml"/><Relationship Id="rId69" Type="http://schemas.openxmlformats.org/officeDocument/2006/relationships/tags" Target="../tags/tag107.xml"/><Relationship Id="rId77" Type="http://schemas.openxmlformats.org/officeDocument/2006/relationships/image" Target="../media/image8.png"/><Relationship Id="rId8" Type="http://schemas.openxmlformats.org/officeDocument/2006/relationships/tags" Target="../tags/tag46.xml"/><Relationship Id="rId51" Type="http://schemas.openxmlformats.org/officeDocument/2006/relationships/tags" Target="../tags/tag89.xml"/><Relationship Id="rId72" Type="http://schemas.openxmlformats.org/officeDocument/2006/relationships/image" Target="../media/image6.jpeg"/><Relationship Id="rId80" Type="http://schemas.microsoft.com/office/2007/relationships/hdphoto" Target="../media/hdphoto3.wdp"/><Relationship Id="rId3" Type="http://schemas.openxmlformats.org/officeDocument/2006/relationships/tags" Target="../tags/tag41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33" Type="http://schemas.openxmlformats.org/officeDocument/2006/relationships/tags" Target="../tags/tag71.xml"/><Relationship Id="rId38" Type="http://schemas.openxmlformats.org/officeDocument/2006/relationships/tags" Target="../tags/tag76.xml"/><Relationship Id="rId46" Type="http://schemas.openxmlformats.org/officeDocument/2006/relationships/tags" Target="../tags/tag84.xml"/><Relationship Id="rId59" Type="http://schemas.openxmlformats.org/officeDocument/2006/relationships/tags" Target="../tags/tag97.xml"/><Relationship Id="rId67" Type="http://schemas.openxmlformats.org/officeDocument/2006/relationships/tags" Target="../tags/tag105.xml"/><Relationship Id="rId20" Type="http://schemas.openxmlformats.org/officeDocument/2006/relationships/tags" Target="../tags/tag58.xml"/><Relationship Id="rId41" Type="http://schemas.openxmlformats.org/officeDocument/2006/relationships/tags" Target="../tags/tag79.xml"/><Relationship Id="rId54" Type="http://schemas.openxmlformats.org/officeDocument/2006/relationships/tags" Target="../tags/tag92.xml"/><Relationship Id="rId62" Type="http://schemas.openxmlformats.org/officeDocument/2006/relationships/tags" Target="../tags/tag100.xml"/><Relationship Id="rId70" Type="http://schemas.openxmlformats.org/officeDocument/2006/relationships/slideLayout" Target="../slideLayouts/slideLayout14.xml"/><Relationship Id="rId75" Type="http://schemas.openxmlformats.org/officeDocument/2006/relationships/image" Target="cid:image004.jpg@01CE6045.0FBEB750" TargetMode="Externa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49" Type="http://schemas.openxmlformats.org/officeDocument/2006/relationships/tags" Target="../tags/tag87.xml"/><Relationship Id="rId57" Type="http://schemas.openxmlformats.org/officeDocument/2006/relationships/tags" Target="../tags/tag9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itle 1">
            <a:extLst>
              <a:ext uri="{FF2B5EF4-FFF2-40B4-BE49-F238E27FC236}">
                <a16:creationId xmlns:a16="http://schemas.microsoft.com/office/drawing/2014/main" id="{D0739079-D3FD-4C89-A6E5-72880DD241CA}"/>
              </a:ext>
            </a:extLst>
          </p:cNvPr>
          <p:cNvSpPr txBox="1">
            <a:spLocks/>
          </p:cNvSpPr>
          <p:nvPr/>
        </p:nvSpPr>
        <p:spPr>
          <a:xfrm>
            <a:off x="360000" y="378000"/>
            <a:ext cx="8301600" cy="1000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2453"/>
              </a:lnSpc>
              <a:spcBef>
                <a:spcPct val="0"/>
              </a:spcBef>
              <a:buNone/>
              <a:defRPr sz="225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>
                <a:solidFill>
                  <a:srgbClr val="C00000"/>
                </a:solidFill>
              </a:rPr>
              <a:t>Seismic category C1 tests simulate earthquake load cycling in 0.5mm stationary cracks</a:t>
            </a:r>
            <a:br>
              <a:rPr lang="en-US" dirty="0"/>
            </a:br>
            <a:endParaRPr lang="en-US" dirty="0"/>
          </a:p>
        </p:txBody>
      </p:sp>
      <p:sp>
        <p:nvSpPr>
          <p:cNvPr id="78" name="Title 1">
            <a:extLst>
              <a:ext uri="{FF2B5EF4-FFF2-40B4-BE49-F238E27FC236}">
                <a16:creationId xmlns:a16="http://schemas.microsoft.com/office/drawing/2014/main" id="{51790DBB-AA11-4CE5-B3FB-1023940A7467}"/>
              </a:ext>
            </a:extLst>
          </p:cNvPr>
          <p:cNvSpPr txBox="1">
            <a:spLocks/>
          </p:cNvSpPr>
          <p:nvPr/>
        </p:nvSpPr>
        <p:spPr>
          <a:xfrm>
            <a:off x="504825" y="760413"/>
            <a:ext cx="8229600" cy="45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3052"/>
              </a:lnSpc>
              <a:spcBef>
                <a:spcPct val="0"/>
              </a:spcBef>
              <a:buNone/>
              <a:defRPr sz="28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807F91EA-3DE4-4A2C-ABF3-BD5787B1D891}"/>
              </a:ext>
            </a:extLst>
          </p:cNvPr>
          <p:cNvSpPr txBox="1">
            <a:spLocks/>
          </p:cNvSpPr>
          <p:nvPr/>
        </p:nvSpPr>
        <p:spPr>
          <a:xfrm>
            <a:off x="338891" y="1522884"/>
            <a:ext cx="8218487" cy="3805364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1200" indent="-241200" algn="l" defTabSz="68580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41200" algn="l" defTabSz="68580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buFont typeface=".LucidaGrandeUI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2400" indent="-241200" algn="l" defTabSz="68580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3600" indent="-241200" algn="l" defTabSz="68580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buFont typeface=".AppleSystemUIFont" charset="-12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C00000"/>
              </a:buClr>
            </a:pPr>
            <a:r>
              <a:rPr lang="en-US" dirty="0"/>
              <a:t>Hard tests but milder than those of required for seismic category C2. Can be seen as an “entry level” seismic qualification.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68ABC27-2545-4325-86EB-26E2201D70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00088" y="2348880"/>
            <a:ext cx="4947292" cy="364813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3290DFB-A3F2-4275-928F-5381907E93E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7936" y="2348880"/>
            <a:ext cx="22851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Pulsating tension test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0D7E98F-438A-4C6D-A804-6BDE4239338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533962" y="2348880"/>
            <a:ext cx="2413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Alternating shear test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D66E15B-BAA7-47C1-9A13-A83D6CAB5F0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58559" y="3382392"/>
            <a:ext cx="1368152" cy="864096"/>
          </a:xfrm>
          <a:prstGeom prst="rect">
            <a:avLst/>
          </a:prstGeom>
          <a:blipFill>
            <a:blip r:embed="rId35"/>
            <a:tile tx="0" ty="0" sx="100000" sy="100000" flip="none" algn="tl"/>
          </a:blip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4" name="PPTShape_0" descr="http://www.hilti.es/data/product/prodoverview/5971.jpg">
            <a:extLst>
              <a:ext uri="{FF2B5EF4-FFF2-40B4-BE49-F238E27FC236}">
                <a16:creationId xmlns:a16="http://schemas.microsoft.com/office/drawing/2014/main" id="{EED1F4D5-24ED-436C-B0F3-2E459F3AF969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6" r:link="rId38"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backgroundRemoval t="0" b="100000" l="0" r="1000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738993" y="3533177"/>
            <a:ext cx="807285" cy="175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F198A358-6F5C-4CB9-86BC-94A71DE4314F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V="1">
            <a:off x="2142635" y="2708920"/>
            <a:ext cx="0" cy="441873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6" name="Freeform 13">
            <a:extLst>
              <a:ext uri="{FF2B5EF4-FFF2-40B4-BE49-F238E27FC236}">
                <a16:creationId xmlns:a16="http://schemas.microsoft.com/office/drawing/2014/main" id="{432F0B87-5922-406C-8427-1050EE40B8E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140564" y="4025528"/>
            <a:ext cx="41275" cy="193675"/>
          </a:xfrm>
          <a:custGeom>
            <a:avLst/>
            <a:gdLst>
              <a:gd name="connsiteX0" fmla="*/ 0 w 41275"/>
              <a:gd name="connsiteY0" fmla="*/ 0 h 193675"/>
              <a:gd name="connsiteX1" fmla="*/ 6350 w 41275"/>
              <a:gd name="connsiteY1" fmla="*/ 25400 h 193675"/>
              <a:gd name="connsiteX2" fmla="*/ 12700 w 41275"/>
              <a:gd name="connsiteY2" fmla="*/ 34925 h 193675"/>
              <a:gd name="connsiteX3" fmla="*/ 15875 w 41275"/>
              <a:gd name="connsiteY3" fmla="*/ 47625 h 193675"/>
              <a:gd name="connsiteX4" fmla="*/ 22225 w 41275"/>
              <a:gd name="connsiteY4" fmla="*/ 66675 h 193675"/>
              <a:gd name="connsiteX5" fmla="*/ 28575 w 41275"/>
              <a:gd name="connsiteY5" fmla="*/ 85725 h 193675"/>
              <a:gd name="connsiteX6" fmla="*/ 41275 w 41275"/>
              <a:gd name="connsiteY6" fmla="*/ 120650 h 193675"/>
              <a:gd name="connsiteX7" fmla="*/ 38100 w 41275"/>
              <a:gd name="connsiteY7" fmla="*/ 168275 h 193675"/>
              <a:gd name="connsiteX8" fmla="*/ 41275 w 41275"/>
              <a:gd name="connsiteY8" fmla="*/ 193675 h 19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275" h="193675">
                <a:moveTo>
                  <a:pt x="0" y="0"/>
                </a:moveTo>
                <a:cubicBezTo>
                  <a:pt x="1208" y="6038"/>
                  <a:pt x="3096" y="18891"/>
                  <a:pt x="6350" y="25400"/>
                </a:cubicBezTo>
                <a:cubicBezTo>
                  <a:pt x="8057" y="28813"/>
                  <a:pt x="10583" y="31750"/>
                  <a:pt x="12700" y="34925"/>
                </a:cubicBezTo>
                <a:cubicBezTo>
                  <a:pt x="13758" y="39158"/>
                  <a:pt x="14621" y="43445"/>
                  <a:pt x="15875" y="47625"/>
                </a:cubicBezTo>
                <a:cubicBezTo>
                  <a:pt x="17798" y="54036"/>
                  <a:pt x="20108" y="60325"/>
                  <a:pt x="22225" y="66675"/>
                </a:cubicBezTo>
                <a:lnTo>
                  <a:pt x="28575" y="85725"/>
                </a:lnTo>
                <a:cubicBezTo>
                  <a:pt x="40701" y="122102"/>
                  <a:pt x="27963" y="100682"/>
                  <a:pt x="41275" y="120650"/>
                </a:cubicBezTo>
                <a:cubicBezTo>
                  <a:pt x="40217" y="136525"/>
                  <a:pt x="38100" y="152365"/>
                  <a:pt x="38100" y="168275"/>
                </a:cubicBezTo>
                <a:cubicBezTo>
                  <a:pt x="38100" y="176808"/>
                  <a:pt x="41275" y="185142"/>
                  <a:pt x="41275" y="193675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7" name="Freeform 14">
            <a:extLst>
              <a:ext uri="{FF2B5EF4-FFF2-40B4-BE49-F238E27FC236}">
                <a16:creationId xmlns:a16="http://schemas.microsoft.com/office/drawing/2014/main" id="{63750F8A-0026-4B6C-B532-91386CAC628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067539" y="3388147"/>
            <a:ext cx="66966" cy="835819"/>
          </a:xfrm>
          <a:custGeom>
            <a:avLst/>
            <a:gdLst>
              <a:gd name="connsiteX0" fmla="*/ 28575 w 66966"/>
              <a:gd name="connsiteY0" fmla="*/ 0 h 835819"/>
              <a:gd name="connsiteX1" fmla="*/ 26193 w 66966"/>
              <a:gd name="connsiteY1" fmla="*/ 11906 h 835819"/>
              <a:gd name="connsiteX2" fmla="*/ 21431 w 66966"/>
              <a:gd name="connsiteY2" fmla="*/ 26194 h 835819"/>
              <a:gd name="connsiteX3" fmla="*/ 19050 w 66966"/>
              <a:gd name="connsiteY3" fmla="*/ 59531 h 835819"/>
              <a:gd name="connsiteX4" fmla="*/ 14287 w 66966"/>
              <a:gd name="connsiteY4" fmla="*/ 76200 h 835819"/>
              <a:gd name="connsiteX5" fmla="*/ 16668 w 66966"/>
              <a:gd name="connsiteY5" fmla="*/ 116681 h 835819"/>
              <a:gd name="connsiteX6" fmla="*/ 23812 w 66966"/>
              <a:gd name="connsiteY6" fmla="*/ 130969 h 835819"/>
              <a:gd name="connsiteX7" fmla="*/ 26193 w 66966"/>
              <a:gd name="connsiteY7" fmla="*/ 138112 h 835819"/>
              <a:gd name="connsiteX8" fmla="*/ 23812 w 66966"/>
              <a:gd name="connsiteY8" fmla="*/ 176212 h 835819"/>
              <a:gd name="connsiteX9" fmla="*/ 19050 w 66966"/>
              <a:gd name="connsiteY9" fmla="*/ 190500 h 835819"/>
              <a:gd name="connsiteX10" fmla="*/ 14287 w 66966"/>
              <a:gd name="connsiteY10" fmla="*/ 209550 h 835819"/>
              <a:gd name="connsiteX11" fmla="*/ 16668 w 66966"/>
              <a:gd name="connsiteY11" fmla="*/ 233362 h 835819"/>
              <a:gd name="connsiteX12" fmla="*/ 23812 w 66966"/>
              <a:gd name="connsiteY12" fmla="*/ 247650 h 835819"/>
              <a:gd name="connsiteX13" fmla="*/ 28575 w 66966"/>
              <a:gd name="connsiteY13" fmla="*/ 264319 h 835819"/>
              <a:gd name="connsiteX14" fmla="*/ 30956 w 66966"/>
              <a:gd name="connsiteY14" fmla="*/ 271462 h 835819"/>
              <a:gd name="connsiteX15" fmla="*/ 23812 w 66966"/>
              <a:gd name="connsiteY15" fmla="*/ 295275 h 835819"/>
              <a:gd name="connsiteX16" fmla="*/ 21431 w 66966"/>
              <a:gd name="connsiteY16" fmla="*/ 311944 h 835819"/>
              <a:gd name="connsiteX17" fmla="*/ 14287 w 66966"/>
              <a:gd name="connsiteY17" fmla="*/ 319087 h 835819"/>
              <a:gd name="connsiteX18" fmla="*/ 19050 w 66966"/>
              <a:gd name="connsiteY18" fmla="*/ 342900 h 835819"/>
              <a:gd name="connsiteX19" fmla="*/ 23812 w 66966"/>
              <a:gd name="connsiteY19" fmla="*/ 361950 h 835819"/>
              <a:gd name="connsiteX20" fmla="*/ 19050 w 66966"/>
              <a:gd name="connsiteY20" fmla="*/ 419100 h 835819"/>
              <a:gd name="connsiteX21" fmla="*/ 16668 w 66966"/>
              <a:gd name="connsiteY21" fmla="*/ 431006 h 835819"/>
              <a:gd name="connsiteX22" fmla="*/ 14287 w 66966"/>
              <a:gd name="connsiteY22" fmla="*/ 452437 h 835819"/>
              <a:gd name="connsiteX23" fmla="*/ 16668 w 66966"/>
              <a:gd name="connsiteY23" fmla="*/ 495300 h 835819"/>
              <a:gd name="connsiteX24" fmla="*/ 21431 w 66966"/>
              <a:gd name="connsiteY24" fmla="*/ 511969 h 835819"/>
              <a:gd name="connsiteX25" fmla="*/ 11906 w 66966"/>
              <a:gd name="connsiteY25" fmla="*/ 523875 h 835819"/>
              <a:gd name="connsiteX26" fmla="*/ 7143 w 66966"/>
              <a:gd name="connsiteY26" fmla="*/ 533400 h 835819"/>
              <a:gd name="connsiteX27" fmla="*/ 0 w 66966"/>
              <a:gd name="connsiteY27" fmla="*/ 547687 h 835819"/>
              <a:gd name="connsiteX28" fmla="*/ 2381 w 66966"/>
              <a:gd name="connsiteY28" fmla="*/ 554831 h 835819"/>
              <a:gd name="connsiteX29" fmla="*/ 11906 w 66966"/>
              <a:gd name="connsiteY29" fmla="*/ 569119 h 835819"/>
              <a:gd name="connsiteX30" fmla="*/ 16668 w 66966"/>
              <a:gd name="connsiteY30" fmla="*/ 583406 h 835819"/>
              <a:gd name="connsiteX31" fmla="*/ 19050 w 66966"/>
              <a:gd name="connsiteY31" fmla="*/ 590550 h 835819"/>
              <a:gd name="connsiteX32" fmla="*/ 21431 w 66966"/>
              <a:gd name="connsiteY32" fmla="*/ 647700 h 835819"/>
              <a:gd name="connsiteX33" fmla="*/ 28575 w 66966"/>
              <a:gd name="connsiteY33" fmla="*/ 652462 h 835819"/>
              <a:gd name="connsiteX34" fmla="*/ 30956 w 66966"/>
              <a:gd name="connsiteY34" fmla="*/ 661987 h 835819"/>
              <a:gd name="connsiteX35" fmla="*/ 45243 w 66966"/>
              <a:gd name="connsiteY35" fmla="*/ 690562 h 835819"/>
              <a:gd name="connsiteX36" fmla="*/ 50006 w 66966"/>
              <a:gd name="connsiteY36" fmla="*/ 697706 h 835819"/>
              <a:gd name="connsiteX37" fmla="*/ 54768 w 66966"/>
              <a:gd name="connsiteY37" fmla="*/ 731044 h 835819"/>
              <a:gd name="connsiteX38" fmla="*/ 57150 w 66966"/>
              <a:gd name="connsiteY38" fmla="*/ 738187 h 835819"/>
              <a:gd name="connsiteX39" fmla="*/ 59531 w 66966"/>
              <a:gd name="connsiteY39" fmla="*/ 757237 h 835819"/>
              <a:gd name="connsiteX40" fmla="*/ 61912 w 66966"/>
              <a:gd name="connsiteY40" fmla="*/ 766762 h 835819"/>
              <a:gd name="connsiteX41" fmla="*/ 64293 w 66966"/>
              <a:gd name="connsiteY41" fmla="*/ 781050 h 835819"/>
              <a:gd name="connsiteX42" fmla="*/ 66675 w 66966"/>
              <a:gd name="connsiteY42" fmla="*/ 790575 h 835819"/>
              <a:gd name="connsiteX43" fmla="*/ 66675 w 66966"/>
              <a:gd name="connsiteY43" fmla="*/ 835819 h 835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66966" h="835819">
                <a:moveTo>
                  <a:pt x="28575" y="0"/>
                </a:moveTo>
                <a:cubicBezTo>
                  <a:pt x="27781" y="3969"/>
                  <a:pt x="27258" y="8001"/>
                  <a:pt x="26193" y="11906"/>
                </a:cubicBezTo>
                <a:cubicBezTo>
                  <a:pt x="24872" y="16749"/>
                  <a:pt x="21431" y="26194"/>
                  <a:pt x="21431" y="26194"/>
                </a:cubicBezTo>
                <a:cubicBezTo>
                  <a:pt x="20637" y="37306"/>
                  <a:pt x="20280" y="48459"/>
                  <a:pt x="19050" y="59531"/>
                </a:cubicBezTo>
                <a:cubicBezTo>
                  <a:pt x="18552" y="64010"/>
                  <a:pt x="15791" y="71689"/>
                  <a:pt x="14287" y="76200"/>
                </a:cubicBezTo>
                <a:cubicBezTo>
                  <a:pt x="15081" y="89694"/>
                  <a:pt x="15323" y="103231"/>
                  <a:pt x="16668" y="116681"/>
                </a:cubicBezTo>
                <a:cubicBezTo>
                  <a:pt x="17416" y="124160"/>
                  <a:pt x="20553" y="124450"/>
                  <a:pt x="23812" y="130969"/>
                </a:cubicBezTo>
                <a:cubicBezTo>
                  <a:pt x="24934" y="133214"/>
                  <a:pt x="25399" y="135731"/>
                  <a:pt x="26193" y="138112"/>
                </a:cubicBezTo>
                <a:cubicBezTo>
                  <a:pt x="25399" y="150812"/>
                  <a:pt x="25531" y="163604"/>
                  <a:pt x="23812" y="176212"/>
                </a:cubicBezTo>
                <a:cubicBezTo>
                  <a:pt x="23134" y="181186"/>
                  <a:pt x="20035" y="185577"/>
                  <a:pt x="19050" y="190500"/>
                </a:cubicBezTo>
                <a:cubicBezTo>
                  <a:pt x="16176" y="204867"/>
                  <a:pt x="17948" y="198566"/>
                  <a:pt x="14287" y="209550"/>
                </a:cubicBezTo>
                <a:cubicBezTo>
                  <a:pt x="15081" y="217487"/>
                  <a:pt x="15455" y="225478"/>
                  <a:pt x="16668" y="233362"/>
                </a:cubicBezTo>
                <a:cubicBezTo>
                  <a:pt x="17998" y="242005"/>
                  <a:pt x="19889" y="239804"/>
                  <a:pt x="23812" y="247650"/>
                </a:cubicBezTo>
                <a:cubicBezTo>
                  <a:pt x="25713" y="251453"/>
                  <a:pt x="27559" y="260764"/>
                  <a:pt x="28575" y="264319"/>
                </a:cubicBezTo>
                <a:cubicBezTo>
                  <a:pt x="29265" y="266732"/>
                  <a:pt x="30162" y="269081"/>
                  <a:pt x="30956" y="271462"/>
                </a:cubicBezTo>
                <a:cubicBezTo>
                  <a:pt x="28469" y="278921"/>
                  <a:pt x="25252" y="287355"/>
                  <a:pt x="23812" y="295275"/>
                </a:cubicBezTo>
                <a:cubicBezTo>
                  <a:pt x="22808" y="300797"/>
                  <a:pt x="23516" y="306733"/>
                  <a:pt x="21431" y="311944"/>
                </a:cubicBezTo>
                <a:cubicBezTo>
                  <a:pt x="20180" y="315071"/>
                  <a:pt x="16668" y="316706"/>
                  <a:pt x="14287" y="319087"/>
                </a:cubicBezTo>
                <a:cubicBezTo>
                  <a:pt x="20122" y="359933"/>
                  <a:pt x="13507" y="320730"/>
                  <a:pt x="19050" y="342900"/>
                </a:cubicBezTo>
                <a:cubicBezTo>
                  <a:pt x="24801" y="365903"/>
                  <a:pt x="18366" y="345611"/>
                  <a:pt x="23812" y="361950"/>
                </a:cubicBezTo>
                <a:cubicBezTo>
                  <a:pt x="22489" y="381800"/>
                  <a:pt x="21823" y="399688"/>
                  <a:pt x="19050" y="419100"/>
                </a:cubicBezTo>
                <a:cubicBezTo>
                  <a:pt x="18478" y="423107"/>
                  <a:pt x="17240" y="426999"/>
                  <a:pt x="16668" y="431006"/>
                </a:cubicBezTo>
                <a:cubicBezTo>
                  <a:pt x="15651" y="438121"/>
                  <a:pt x="15081" y="445293"/>
                  <a:pt x="14287" y="452437"/>
                </a:cubicBezTo>
                <a:cubicBezTo>
                  <a:pt x="15081" y="466725"/>
                  <a:pt x="15372" y="481049"/>
                  <a:pt x="16668" y="495300"/>
                </a:cubicBezTo>
                <a:cubicBezTo>
                  <a:pt x="17041" y="499406"/>
                  <a:pt x="20023" y="507744"/>
                  <a:pt x="21431" y="511969"/>
                </a:cubicBezTo>
                <a:cubicBezTo>
                  <a:pt x="15473" y="535805"/>
                  <a:pt x="24432" y="511350"/>
                  <a:pt x="11906" y="523875"/>
                </a:cubicBezTo>
                <a:cubicBezTo>
                  <a:pt x="9396" y="526385"/>
                  <a:pt x="8904" y="530318"/>
                  <a:pt x="7143" y="533400"/>
                </a:cubicBezTo>
                <a:cubicBezTo>
                  <a:pt x="-241" y="546322"/>
                  <a:pt x="4365" y="534593"/>
                  <a:pt x="0" y="547687"/>
                </a:cubicBezTo>
                <a:cubicBezTo>
                  <a:pt x="794" y="550068"/>
                  <a:pt x="1162" y="552637"/>
                  <a:pt x="2381" y="554831"/>
                </a:cubicBezTo>
                <a:cubicBezTo>
                  <a:pt x="5161" y="559835"/>
                  <a:pt x="11906" y="569119"/>
                  <a:pt x="11906" y="569119"/>
                </a:cubicBezTo>
                <a:lnTo>
                  <a:pt x="16668" y="583406"/>
                </a:lnTo>
                <a:lnTo>
                  <a:pt x="19050" y="590550"/>
                </a:lnTo>
                <a:cubicBezTo>
                  <a:pt x="19844" y="609600"/>
                  <a:pt x="18532" y="628855"/>
                  <a:pt x="21431" y="647700"/>
                </a:cubicBezTo>
                <a:cubicBezTo>
                  <a:pt x="21866" y="650529"/>
                  <a:pt x="26987" y="650081"/>
                  <a:pt x="28575" y="652462"/>
                </a:cubicBezTo>
                <a:cubicBezTo>
                  <a:pt x="30390" y="655185"/>
                  <a:pt x="30016" y="658852"/>
                  <a:pt x="30956" y="661987"/>
                </a:cubicBezTo>
                <a:cubicBezTo>
                  <a:pt x="36333" y="679913"/>
                  <a:pt x="34295" y="674141"/>
                  <a:pt x="45243" y="690562"/>
                </a:cubicBezTo>
                <a:lnTo>
                  <a:pt x="50006" y="697706"/>
                </a:lnTo>
                <a:cubicBezTo>
                  <a:pt x="55906" y="715410"/>
                  <a:pt x="49549" y="694518"/>
                  <a:pt x="54768" y="731044"/>
                </a:cubicBezTo>
                <a:cubicBezTo>
                  <a:pt x="55123" y="733529"/>
                  <a:pt x="56356" y="735806"/>
                  <a:pt x="57150" y="738187"/>
                </a:cubicBezTo>
                <a:cubicBezTo>
                  <a:pt x="57944" y="744537"/>
                  <a:pt x="58479" y="750925"/>
                  <a:pt x="59531" y="757237"/>
                </a:cubicBezTo>
                <a:cubicBezTo>
                  <a:pt x="60069" y="760465"/>
                  <a:pt x="61270" y="763553"/>
                  <a:pt x="61912" y="766762"/>
                </a:cubicBezTo>
                <a:cubicBezTo>
                  <a:pt x="62859" y="771497"/>
                  <a:pt x="63346" y="776315"/>
                  <a:pt x="64293" y="781050"/>
                </a:cubicBezTo>
                <a:cubicBezTo>
                  <a:pt x="64935" y="784259"/>
                  <a:pt x="66533" y="787305"/>
                  <a:pt x="66675" y="790575"/>
                </a:cubicBezTo>
                <a:cubicBezTo>
                  <a:pt x="67330" y="805642"/>
                  <a:pt x="66675" y="820738"/>
                  <a:pt x="66675" y="835819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778F68C-8949-4B18-B2E7-3560A0233C3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056528" y="3380527"/>
            <a:ext cx="1368152" cy="864096"/>
          </a:xfrm>
          <a:prstGeom prst="rect">
            <a:avLst/>
          </a:prstGeom>
          <a:blipFill>
            <a:blip r:embed="rId35"/>
            <a:tile tx="0" ty="0" sx="100000" sy="100000" flip="none" algn="tl"/>
          </a:blip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9" name="PPTShape_0" descr="http://www.hilti.es/data/product/prodoverview/5971.jpg">
            <a:extLst>
              <a:ext uri="{FF2B5EF4-FFF2-40B4-BE49-F238E27FC236}">
                <a16:creationId xmlns:a16="http://schemas.microsoft.com/office/drawing/2014/main" id="{2B2317EF-1A84-4DDC-99E0-4506C2CBEB51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6" r:link="rId38"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backgroundRemoval t="0" b="100000" l="0" r="1000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4336962" y="3531312"/>
            <a:ext cx="807285" cy="175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Freeform 17">
            <a:extLst>
              <a:ext uri="{FF2B5EF4-FFF2-40B4-BE49-F238E27FC236}">
                <a16:creationId xmlns:a16="http://schemas.microsoft.com/office/drawing/2014/main" id="{B8F3F1D4-64E0-41ED-97EF-43E3BEF2584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738533" y="4023663"/>
            <a:ext cx="41275" cy="193675"/>
          </a:xfrm>
          <a:custGeom>
            <a:avLst/>
            <a:gdLst>
              <a:gd name="connsiteX0" fmla="*/ 0 w 41275"/>
              <a:gd name="connsiteY0" fmla="*/ 0 h 193675"/>
              <a:gd name="connsiteX1" fmla="*/ 6350 w 41275"/>
              <a:gd name="connsiteY1" fmla="*/ 25400 h 193675"/>
              <a:gd name="connsiteX2" fmla="*/ 12700 w 41275"/>
              <a:gd name="connsiteY2" fmla="*/ 34925 h 193675"/>
              <a:gd name="connsiteX3" fmla="*/ 15875 w 41275"/>
              <a:gd name="connsiteY3" fmla="*/ 47625 h 193675"/>
              <a:gd name="connsiteX4" fmla="*/ 22225 w 41275"/>
              <a:gd name="connsiteY4" fmla="*/ 66675 h 193675"/>
              <a:gd name="connsiteX5" fmla="*/ 28575 w 41275"/>
              <a:gd name="connsiteY5" fmla="*/ 85725 h 193675"/>
              <a:gd name="connsiteX6" fmla="*/ 41275 w 41275"/>
              <a:gd name="connsiteY6" fmla="*/ 120650 h 193675"/>
              <a:gd name="connsiteX7" fmla="*/ 38100 w 41275"/>
              <a:gd name="connsiteY7" fmla="*/ 168275 h 193675"/>
              <a:gd name="connsiteX8" fmla="*/ 41275 w 41275"/>
              <a:gd name="connsiteY8" fmla="*/ 193675 h 19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275" h="193675">
                <a:moveTo>
                  <a:pt x="0" y="0"/>
                </a:moveTo>
                <a:cubicBezTo>
                  <a:pt x="1208" y="6038"/>
                  <a:pt x="3096" y="18891"/>
                  <a:pt x="6350" y="25400"/>
                </a:cubicBezTo>
                <a:cubicBezTo>
                  <a:pt x="8057" y="28813"/>
                  <a:pt x="10583" y="31750"/>
                  <a:pt x="12700" y="34925"/>
                </a:cubicBezTo>
                <a:cubicBezTo>
                  <a:pt x="13758" y="39158"/>
                  <a:pt x="14621" y="43445"/>
                  <a:pt x="15875" y="47625"/>
                </a:cubicBezTo>
                <a:cubicBezTo>
                  <a:pt x="17798" y="54036"/>
                  <a:pt x="20108" y="60325"/>
                  <a:pt x="22225" y="66675"/>
                </a:cubicBezTo>
                <a:lnTo>
                  <a:pt x="28575" y="85725"/>
                </a:lnTo>
                <a:cubicBezTo>
                  <a:pt x="40701" y="122102"/>
                  <a:pt x="27963" y="100682"/>
                  <a:pt x="41275" y="120650"/>
                </a:cubicBezTo>
                <a:cubicBezTo>
                  <a:pt x="40217" y="136525"/>
                  <a:pt x="38100" y="152365"/>
                  <a:pt x="38100" y="168275"/>
                </a:cubicBezTo>
                <a:cubicBezTo>
                  <a:pt x="38100" y="176808"/>
                  <a:pt x="41275" y="185142"/>
                  <a:pt x="41275" y="193675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1" name="Freeform 18">
            <a:extLst>
              <a:ext uri="{FF2B5EF4-FFF2-40B4-BE49-F238E27FC236}">
                <a16:creationId xmlns:a16="http://schemas.microsoft.com/office/drawing/2014/main" id="{B2C9D25F-E586-4B61-B93C-7D803FCE685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665508" y="3386282"/>
            <a:ext cx="66966" cy="835819"/>
          </a:xfrm>
          <a:custGeom>
            <a:avLst/>
            <a:gdLst>
              <a:gd name="connsiteX0" fmla="*/ 28575 w 66966"/>
              <a:gd name="connsiteY0" fmla="*/ 0 h 835819"/>
              <a:gd name="connsiteX1" fmla="*/ 26193 w 66966"/>
              <a:gd name="connsiteY1" fmla="*/ 11906 h 835819"/>
              <a:gd name="connsiteX2" fmla="*/ 21431 w 66966"/>
              <a:gd name="connsiteY2" fmla="*/ 26194 h 835819"/>
              <a:gd name="connsiteX3" fmla="*/ 19050 w 66966"/>
              <a:gd name="connsiteY3" fmla="*/ 59531 h 835819"/>
              <a:gd name="connsiteX4" fmla="*/ 14287 w 66966"/>
              <a:gd name="connsiteY4" fmla="*/ 76200 h 835819"/>
              <a:gd name="connsiteX5" fmla="*/ 16668 w 66966"/>
              <a:gd name="connsiteY5" fmla="*/ 116681 h 835819"/>
              <a:gd name="connsiteX6" fmla="*/ 23812 w 66966"/>
              <a:gd name="connsiteY6" fmla="*/ 130969 h 835819"/>
              <a:gd name="connsiteX7" fmla="*/ 26193 w 66966"/>
              <a:gd name="connsiteY7" fmla="*/ 138112 h 835819"/>
              <a:gd name="connsiteX8" fmla="*/ 23812 w 66966"/>
              <a:gd name="connsiteY8" fmla="*/ 176212 h 835819"/>
              <a:gd name="connsiteX9" fmla="*/ 19050 w 66966"/>
              <a:gd name="connsiteY9" fmla="*/ 190500 h 835819"/>
              <a:gd name="connsiteX10" fmla="*/ 14287 w 66966"/>
              <a:gd name="connsiteY10" fmla="*/ 209550 h 835819"/>
              <a:gd name="connsiteX11" fmla="*/ 16668 w 66966"/>
              <a:gd name="connsiteY11" fmla="*/ 233362 h 835819"/>
              <a:gd name="connsiteX12" fmla="*/ 23812 w 66966"/>
              <a:gd name="connsiteY12" fmla="*/ 247650 h 835819"/>
              <a:gd name="connsiteX13" fmla="*/ 28575 w 66966"/>
              <a:gd name="connsiteY13" fmla="*/ 264319 h 835819"/>
              <a:gd name="connsiteX14" fmla="*/ 30956 w 66966"/>
              <a:gd name="connsiteY14" fmla="*/ 271462 h 835819"/>
              <a:gd name="connsiteX15" fmla="*/ 23812 w 66966"/>
              <a:gd name="connsiteY15" fmla="*/ 295275 h 835819"/>
              <a:gd name="connsiteX16" fmla="*/ 21431 w 66966"/>
              <a:gd name="connsiteY16" fmla="*/ 311944 h 835819"/>
              <a:gd name="connsiteX17" fmla="*/ 14287 w 66966"/>
              <a:gd name="connsiteY17" fmla="*/ 319087 h 835819"/>
              <a:gd name="connsiteX18" fmla="*/ 19050 w 66966"/>
              <a:gd name="connsiteY18" fmla="*/ 342900 h 835819"/>
              <a:gd name="connsiteX19" fmla="*/ 23812 w 66966"/>
              <a:gd name="connsiteY19" fmla="*/ 361950 h 835819"/>
              <a:gd name="connsiteX20" fmla="*/ 19050 w 66966"/>
              <a:gd name="connsiteY20" fmla="*/ 419100 h 835819"/>
              <a:gd name="connsiteX21" fmla="*/ 16668 w 66966"/>
              <a:gd name="connsiteY21" fmla="*/ 431006 h 835819"/>
              <a:gd name="connsiteX22" fmla="*/ 14287 w 66966"/>
              <a:gd name="connsiteY22" fmla="*/ 452437 h 835819"/>
              <a:gd name="connsiteX23" fmla="*/ 16668 w 66966"/>
              <a:gd name="connsiteY23" fmla="*/ 495300 h 835819"/>
              <a:gd name="connsiteX24" fmla="*/ 21431 w 66966"/>
              <a:gd name="connsiteY24" fmla="*/ 511969 h 835819"/>
              <a:gd name="connsiteX25" fmla="*/ 11906 w 66966"/>
              <a:gd name="connsiteY25" fmla="*/ 523875 h 835819"/>
              <a:gd name="connsiteX26" fmla="*/ 7143 w 66966"/>
              <a:gd name="connsiteY26" fmla="*/ 533400 h 835819"/>
              <a:gd name="connsiteX27" fmla="*/ 0 w 66966"/>
              <a:gd name="connsiteY27" fmla="*/ 547687 h 835819"/>
              <a:gd name="connsiteX28" fmla="*/ 2381 w 66966"/>
              <a:gd name="connsiteY28" fmla="*/ 554831 h 835819"/>
              <a:gd name="connsiteX29" fmla="*/ 11906 w 66966"/>
              <a:gd name="connsiteY29" fmla="*/ 569119 h 835819"/>
              <a:gd name="connsiteX30" fmla="*/ 16668 w 66966"/>
              <a:gd name="connsiteY30" fmla="*/ 583406 h 835819"/>
              <a:gd name="connsiteX31" fmla="*/ 19050 w 66966"/>
              <a:gd name="connsiteY31" fmla="*/ 590550 h 835819"/>
              <a:gd name="connsiteX32" fmla="*/ 21431 w 66966"/>
              <a:gd name="connsiteY32" fmla="*/ 647700 h 835819"/>
              <a:gd name="connsiteX33" fmla="*/ 28575 w 66966"/>
              <a:gd name="connsiteY33" fmla="*/ 652462 h 835819"/>
              <a:gd name="connsiteX34" fmla="*/ 30956 w 66966"/>
              <a:gd name="connsiteY34" fmla="*/ 661987 h 835819"/>
              <a:gd name="connsiteX35" fmla="*/ 45243 w 66966"/>
              <a:gd name="connsiteY35" fmla="*/ 690562 h 835819"/>
              <a:gd name="connsiteX36" fmla="*/ 50006 w 66966"/>
              <a:gd name="connsiteY36" fmla="*/ 697706 h 835819"/>
              <a:gd name="connsiteX37" fmla="*/ 54768 w 66966"/>
              <a:gd name="connsiteY37" fmla="*/ 731044 h 835819"/>
              <a:gd name="connsiteX38" fmla="*/ 57150 w 66966"/>
              <a:gd name="connsiteY38" fmla="*/ 738187 h 835819"/>
              <a:gd name="connsiteX39" fmla="*/ 59531 w 66966"/>
              <a:gd name="connsiteY39" fmla="*/ 757237 h 835819"/>
              <a:gd name="connsiteX40" fmla="*/ 61912 w 66966"/>
              <a:gd name="connsiteY40" fmla="*/ 766762 h 835819"/>
              <a:gd name="connsiteX41" fmla="*/ 64293 w 66966"/>
              <a:gd name="connsiteY41" fmla="*/ 781050 h 835819"/>
              <a:gd name="connsiteX42" fmla="*/ 66675 w 66966"/>
              <a:gd name="connsiteY42" fmla="*/ 790575 h 835819"/>
              <a:gd name="connsiteX43" fmla="*/ 66675 w 66966"/>
              <a:gd name="connsiteY43" fmla="*/ 835819 h 835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66966" h="835819">
                <a:moveTo>
                  <a:pt x="28575" y="0"/>
                </a:moveTo>
                <a:cubicBezTo>
                  <a:pt x="27781" y="3969"/>
                  <a:pt x="27258" y="8001"/>
                  <a:pt x="26193" y="11906"/>
                </a:cubicBezTo>
                <a:cubicBezTo>
                  <a:pt x="24872" y="16749"/>
                  <a:pt x="21431" y="26194"/>
                  <a:pt x="21431" y="26194"/>
                </a:cubicBezTo>
                <a:cubicBezTo>
                  <a:pt x="20637" y="37306"/>
                  <a:pt x="20280" y="48459"/>
                  <a:pt x="19050" y="59531"/>
                </a:cubicBezTo>
                <a:cubicBezTo>
                  <a:pt x="18552" y="64010"/>
                  <a:pt x="15791" y="71689"/>
                  <a:pt x="14287" y="76200"/>
                </a:cubicBezTo>
                <a:cubicBezTo>
                  <a:pt x="15081" y="89694"/>
                  <a:pt x="15323" y="103231"/>
                  <a:pt x="16668" y="116681"/>
                </a:cubicBezTo>
                <a:cubicBezTo>
                  <a:pt x="17416" y="124160"/>
                  <a:pt x="20553" y="124450"/>
                  <a:pt x="23812" y="130969"/>
                </a:cubicBezTo>
                <a:cubicBezTo>
                  <a:pt x="24934" y="133214"/>
                  <a:pt x="25399" y="135731"/>
                  <a:pt x="26193" y="138112"/>
                </a:cubicBezTo>
                <a:cubicBezTo>
                  <a:pt x="25399" y="150812"/>
                  <a:pt x="25531" y="163604"/>
                  <a:pt x="23812" y="176212"/>
                </a:cubicBezTo>
                <a:cubicBezTo>
                  <a:pt x="23134" y="181186"/>
                  <a:pt x="20035" y="185577"/>
                  <a:pt x="19050" y="190500"/>
                </a:cubicBezTo>
                <a:cubicBezTo>
                  <a:pt x="16176" y="204867"/>
                  <a:pt x="17948" y="198566"/>
                  <a:pt x="14287" y="209550"/>
                </a:cubicBezTo>
                <a:cubicBezTo>
                  <a:pt x="15081" y="217487"/>
                  <a:pt x="15455" y="225478"/>
                  <a:pt x="16668" y="233362"/>
                </a:cubicBezTo>
                <a:cubicBezTo>
                  <a:pt x="17998" y="242005"/>
                  <a:pt x="19889" y="239804"/>
                  <a:pt x="23812" y="247650"/>
                </a:cubicBezTo>
                <a:cubicBezTo>
                  <a:pt x="25713" y="251453"/>
                  <a:pt x="27559" y="260764"/>
                  <a:pt x="28575" y="264319"/>
                </a:cubicBezTo>
                <a:cubicBezTo>
                  <a:pt x="29265" y="266732"/>
                  <a:pt x="30162" y="269081"/>
                  <a:pt x="30956" y="271462"/>
                </a:cubicBezTo>
                <a:cubicBezTo>
                  <a:pt x="28469" y="278921"/>
                  <a:pt x="25252" y="287355"/>
                  <a:pt x="23812" y="295275"/>
                </a:cubicBezTo>
                <a:cubicBezTo>
                  <a:pt x="22808" y="300797"/>
                  <a:pt x="23516" y="306733"/>
                  <a:pt x="21431" y="311944"/>
                </a:cubicBezTo>
                <a:cubicBezTo>
                  <a:pt x="20180" y="315071"/>
                  <a:pt x="16668" y="316706"/>
                  <a:pt x="14287" y="319087"/>
                </a:cubicBezTo>
                <a:cubicBezTo>
                  <a:pt x="20122" y="359933"/>
                  <a:pt x="13507" y="320730"/>
                  <a:pt x="19050" y="342900"/>
                </a:cubicBezTo>
                <a:cubicBezTo>
                  <a:pt x="24801" y="365903"/>
                  <a:pt x="18366" y="345611"/>
                  <a:pt x="23812" y="361950"/>
                </a:cubicBezTo>
                <a:cubicBezTo>
                  <a:pt x="22489" y="381800"/>
                  <a:pt x="21823" y="399688"/>
                  <a:pt x="19050" y="419100"/>
                </a:cubicBezTo>
                <a:cubicBezTo>
                  <a:pt x="18478" y="423107"/>
                  <a:pt x="17240" y="426999"/>
                  <a:pt x="16668" y="431006"/>
                </a:cubicBezTo>
                <a:cubicBezTo>
                  <a:pt x="15651" y="438121"/>
                  <a:pt x="15081" y="445293"/>
                  <a:pt x="14287" y="452437"/>
                </a:cubicBezTo>
                <a:cubicBezTo>
                  <a:pt x="15081" y="466725"/>
                  <a:pt x="15372" y="481049"/>
                  <a:pt x="16668" y="495300"/>
                </a:cubicBezTo>
                <a:cubicBezTo>
                  <a:pt x="17041" y="499406"/>
                  <a:pt x="20023" y="507744"/>
                  <a:pt x="21431" y="511969"/>
                </a:cubicBezTo>
                <a:cubicBezTo>
                  <a:pt x="15473" y="535805"/>
                  <a:pt x="24432" y="511350"/>
                  <a:pt x="11906" y="523875"/>
                </a:cubicBezTo>
                <a:cubicBezTo>
                  <a:pt x="9396" y="526385"/>
                  <a:pt x="8904" y="530318"/>
                  <a:pt x="7143" y="533400"/>
                </a:cubicBezTo>
                <a:cubicBezTo>
                  <a:pt x="-241" y="546322"/>
                  <a:pt x="4365" y="534593"/>
                  <a:pt x="0" y="547687"/>
                </a:cubicBezTo>
                <a:cubicBezTo>
                  <a:pt x="794" y="550068"/>
                  <a:pt x="1162" y="552637"/>
                  <a:pt x="2381" y="554831"/>
                </a:cubicBezTo>
                <a:cubicBezTo>
                  <a:pt x="5161" y="559835"/>
                  <a:pt x="11906" y="569119"/>
                  <a:pt x="11906" y="569119"/>
                </a:cubicBezTo>
                <a:lnTo>
                  <a:pt x="16668" y="583406"/>
                </a:lnTo>
                <a:lnTo>
                  <a:pt x="19050" y="590550"/>
                </a:lnTo>
                <a:cubicBezTo>
                  <a:pt x="19844" y="609600"/>
                  <a:pt x="18532" y="628855"/>
                  <a:pt x="21431" y="647700"/>
                </a:cubicBezTo>
                <a:cubicBezTo>
                  <a:pt x="21866" y="650529"/>
                  <a:pt x="26987" y="650081"/>
                  <a:pt x="28575" y="652462"/>
                </a:cubicBezTo>
                <a:cubicBezTo>
                  <a:pt x="30390" y="655185"/>
                  <a:pt x="30016" y="658852"/>
                  <a:pt x="30956" y="661987"/>
                </a:cubicBezTo>
                <a:cubicBezTo>
                  <a:pt x="36333" y="679913"/>
                  <a:pt x="34295" y="674141"/>
                  <a:pt x="45243" y="690562"/>
                </a:cubicBezTo>
                <a:lnTo>
                  <a:pt x="50006" y="697706"/>
                </a:lnTo>
                <a:cubicBezTo>
                  <a:pt x="55906" y="715410"/>
                  <a:pt x="49549" y="694518"/>
                  <a:pt x="54768" y="731044"/>
                </a:cubicBezTo>
                <a:cubicBezTo>
                  <a:pt x="55123" y="733529"/>
                  <a:pt x="56356" y="735806"/>
                  <a:pt x="57150" y="738187"/>
                </a:cubicBezTo>
                <a:cubicBezTo>
                  <a:pt x="57944" y="744537"/>
                  <a:pt x="58479" y="750925"/>
                  <a:pt x="59531" y="757237"/>
                </a:cubicBezTo>
                <a:cubicBezTo>
                  <a:pt x="60069" y="760465"/>
                  <a:pt x="61270" y="763553"/>
                  <a:pt x="61912" y="766762"/>
                </a:cubicBezTo>
                <a:cubicBezTo>
                  <a:pt x="62859" y="771497"/>
                  <a:pt x="63346" y="776315"/>
                  <a:pt x="64293" y="781050"/>
                </a:cubicBezTo>
                <a:cubicBezTo>
                  <a:pt x="64935" y="784259"/>
                  <a:pt x="66533" y="787305"/>
                  <a:pt x="66675" y="790575"/>
                </a:cubicBezTo>
                <a:cubicBezTo>
                  <a:pt x="67330" y="805642"/>
                  <a:pt x="66675" y="820738"/>
                  <a:pt x="66675" y="835819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84C85D69-40D2-47E8-9DAA-D841A6FCA3DF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 flipV="1">
            <a:off x="2068531" y="2929856"/>
            <a:ext cx="0" cy="220938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DE71CF0E-36D5-4B16-A9D7-13667D148438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 rot="5400000" flipV="1">
            <a:off x="4987719" y="2920031"/>
            <a:ext cx="0" cy="441873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05B5270D-B272-4175-983C-D097221BC945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4770649" y="3040325"/>
            <a:ext cx="250260" cy="502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1E45B08-3841-4A4F-AF08-80800A1D6865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 rot="16200000" flipH="1" flipV="1">
            <a:off x="4478631" y="2920031"/>
            <a:ext cx="0" cy="441873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CEDBEDC1-6293-4EAB-9401-F120CEB06D62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 flipH="1">
            <a:off x="4444815" y="3040325"/>
            <a:ext cx="250260" cy="502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3F12B750-BE73-414A-9E42-BDB8E711061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58559" y="4657860"/>
            <a:ext cx="1368152" cy="687296"/>
          </a:xfrm>
          <a:prstGeom prst="rect">
            <a:avLst/>
          </a:prstGeom>
          <a:blipFill>
            <a:blip r:embed="rId35"/>
            <a:tile tx="0" ty="0" sx="100000" sy="100000" flip="none" algn="tl"/>
          </a:blip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8" name="Freeform 25">
            <a:extLst>
              <a:ext uri="{FF2B5EF4-FFF2-40B4-BE49-F238E27FC236}">
                <a16:creationId xmlns:a16="http://schemas.microsoft.com/office/drawing/2014/main" id="{2BF7F1C1-198A-4A06-A307-3E638D1CD9B6}"/>
              </a:ext>
            </a:extLst>
          </p:cNvPr>
          <p:cNvSpPr/>
          <p:nvPr/>
        </p:nvSpPr>
        <p:spPr>
          <a:xfrm>
            <a:off x="2106633" y="4670974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9" name="Freeform 26">
            <a:extLst>
              <a:ext uri="{FF2B5EF4-FFF2-40B4-BE49-F238E27FC236}">
                <a16:creationId xmlns:a16="http://schemas.microsoft.com/office/drawing/2014/main" id="{85B3B1A9-CC4D-4CE2-B84D-D123C248148C}"/>
              </a:ext>
            </a:extLst>
          </p:cNvPr>
          <p:cNvSpPr/>
          <p:nvPr/>
        </p:nvSpPr>
        <p:spPr>
          <a:xfrm>
            <a:off x="2158173" y="4669429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0" name="Freeform 27">
            <a:extLst>
              <a:ext uri="{FF2B5EF4-FFF2-40B4-BE49-F238E27FC236}">
                <a16:creationId xmlns:a16="http://schemas.microsoft.com/office/drawing/2014/main" id="{44694C82-B880-461E-AC11-699521F8215F}"/>
              </a:ext>
            </a:extLst>
          </p:cNvPr>
          <p:cNvSpPr/>
          <p:nvPr/>
        </p:nvSpPr>
        <p:spPr>
          <a:xfrm>
            <a:off x="2106633" y="5098435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1" name="Freeform 28">
            <a:extLst>
              <a:ext uri="{FF2B5EF4-FFF2-40B4-BE49-F238E27FC236}">
                <a16:creationId xmlns:a16="http://schemas.microsoft.com/office/drawing/2014/main" id="{D3596B39-3FB2-488B-9226-DB3BA1D3F9BD}"/>
              </a:ext>
            </a:extLst>
          </p:cNvPr>
          <p:cNvSpPr/>
          <p:nvPr/>
        </p:nvSpPr>
        <p:spPr>
          <a:xfrm>
            <a:off x="2158173" y="5096890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29645D30-EDE4-4DE2-827A-07D5CFF8779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4056528" y="4655995"/>
            <a:ext cx="1368152" cy="687296"/>
          </a:xfrm>
          <a:prstGeom prst="rect">
            <a:avLst/>
          </a:prstGeom>
          <a:blipFill>
            <a:blip r:embed="rId35"/>
            <a:tile tx="0" ty="0" sx="100000" sy="100000" flip="none" algn="tl"/>
          </a:blip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451C5097-32C8-44A5-B605-15B06DC0DE39}"/>
              </a:ext>
            </a:extLst>
          </p:cNvPr>
          <p:cNvCxnSpPr>
            <a:stCxn id="99" idx="4"/>
            <a:endCxn id="104" idx="1"/>
          </p:cNvCxnSpPr>
          <p:nvPr>
            <p:custDataLst>
              <p:tags r:id="rId21"/>
            </p:custDataLst>
          </p:nvPr>
        </p:nvCxnSpPr>
        <p:spPr>
          <a:xfrm>
            <a:off x="2158173" y="4784682"/>
            <a:ext cx="760877" cy="23338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4B5768D7-1D0F-4C4F-8D91-1A05D04E49DC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2919050" y="4879566"/>
            <a:ext cx="10744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>
                <a:solidFill>
                  <a:srgbClr val="000000"/>
                </a:solidFill>
                <a:latin typeface="Symbol" pitchFamily="18" charset="2"/>
              </a:rPr>
              <a:t>D</a:t>
            </a:r>
            <a:r>
              <a:rPr lang="en-US" sz="1200" dirty="0" err="1">
                <a:solidFill>
                  <a:srgbClr val="000000"/>
                </a:solidFill>
              </a:rPr>
              <a:t>w</a:t>
            </a:r>
            <a:r>
              <a:rPr lang="en-US" sz="1200" dirty="0">
                <a:solidFill>
                  <a:srgbClr val="000000"/>
                </a:solidFill>
              </a:rPr>
              <a:t>= 0.5mm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F8E7381-8848-4EB9-A1EA-83B882E07E85}"/>
              </a:ext>
            </a:extLst>
          </p:cNvPr>
          <p:cNvCxnSpPr>
            <a:stCxn id="104" idx="3"/>
            <a:endCxn id="111" idx="4"/>
          </p:cNvCxnSpPr>
          <p:nvPr>
            <p:custDataLst>
              <p:tags r:id="rId23"/>
            </p:custDataLst>
          </p:nvPr>
        </p:nvCxnSpPr>
        <p:spPr>
          <a:xfrm flipV="1">
            <a:off x="4631500" y="4786227"/>
            <a:ext cx="85768" cy="16703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D1D4D6D-DF54-4C92-8F83-510307F08BD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38891" y="2348879"/>
            <a:ext cx="659045" cy="658368"/>
          </a:xfrm>
          <a:prstGeom prst="rect">
            <a:avLst/>
          </a:prstGeom>
          <a:solidFill>
            <a:srgbClr val="FFC000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FFFF"/>
                </a:solidFill>
              </a:rPr>
              <a:t>C1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6E3C96DB-4093-4FAC-9A2C-8420D2ED08D2}"/>
              </a:ext>
            </a:extLst>
          </p:cNvPr>
          <p:cNvGrpSpPr/>
          <p:nvPr/>
        </p:nvGrpSpPr>
        <p:grpSpPr>
          <a:xfrm>
            <a:off x="2051195" y="4912392"/>
            <a:ext cx="182880" cy="178231"/>
            <a:chOff x="2259992" y="5234332"/>
            <a:chExt cx="182880" cy="178231"/>
          </a:xfrm>
        </p:grpSpPr>
        <p:pic>
          <p:nvPicPr>
            <p:cNvPr id="108" name="Picture 4" descr="http://ecx.images-amazon.com/images/I/21gbnPMvyEL._SL500_AA300_PIcountsize-100,TopRight,0,0_AA300_SH20_.jpg">
              <a:hlinkClick r:id="rId39"/>
              <a:extLst>
                <a:ext uri="{FF2B5EF4-FFF2-40B4-BE49-F238E27FC236}">
                  <a16:creationId xmlns:a16="http://schemas.microsoft.com/office/drawing/2014/main" id="{1BAC0E9D-4966-4157-9A52-64F5146BD8E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1"/>
              </p:custDataLst>
            </p:nvPr>
          </p:nvPicPr>
          <p:blipFill rotWithShape="1">
            <a:blip r:embed="rId40" cstate="print">
              <a:extLst>
                <a:ext uri="{BEBA8EAE-BF5A-486C-A8C5-ECC9F3942E4B}">
                  <a14:imgProps xmlns:a14="http://schemas.microsoft.com/office/drawing/2010/main">
                    <a14:imgLayer r:embed="rId41">
                      <a14:imgEffect>
                        <a14:backgroundRemoval t="19000" b="78000" l="15667" r="796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72" t="22680" r="22983" b="24747"/>
            <a:stretch/>
          </p:blipFill>
          <p:spPr bwMode="auto">
            <a:xfrm>
              <a:off x="2259992" y="5234332"/>
              <a:ext cx="182880" cy="178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376F56D7-C9DD-419E-B779-ABC3AD0F0E35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2313047" y="5285062"/>
              <a:ext cx="72008" cy="7200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shade val="30000"/>
                    <a:satMod val="115000"/>
                  </a:schemeClr>
                </a:gs>
                <a:gs pos="50000">
                  <a:schemeClr val="bg1">
                    <a:lumMod val="75000"/>
                    <a:shade val="67500"/>
                    <a:satMod val="115000"/>
                  </a:schemeClr>
                </a:gs>
                <a:gs pos="100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pic>
          <p:nvPicPr>
            <p:cNvPr id="110" name="Picture 4">
              <a:extLst>
                <a:ext uri="{FF2B5EF4-FFF2-40B4-BE49-F238E27FC236}">
                  <a16:creationId xmlns:a16="http://schemas.microsoft.com/office/drawing/2014/main" id="{25F57E57-7FE3-42DE-BABF-D4BBD182F0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43">
                      <a14:imgEffect>
                        <a14:backgroundRemoval t="0" b="99057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0030" y="5257713"/>
              <a:ext cx="142804" cy="127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1" name="Freeform 38">
            <a:extLst>
              <a:ext uri="{FF2B5EF4-FFF2-40B4-BE49-F238E27FC236}">
                <a16:creationId xmlns:a16="http://schemas.microsoft.com/office/drawing/2014/main" id="{187EE183-3276-42C5-8A9E-17415665FB0D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4717268" y="4670974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2" name="Freeform 39">
            <a:extLst>
              <a:ext uri="{FF2B5EF4-FFF2-40B4-BE49-F238E27FC236}">
                <a16:creationId xmlns:a16="http://schemas.microsoft.com/office/drawing/2014/main" id="{09301B36-868C-4C8B-A3A5-9773EEBE192D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4768808" y="4669429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3" name="Freeform 40">
            <a:extLst>
              <a:ext uri="{FF2B5EF4-FFF2-40B4-BE49-F238E27FC236}">
                <a16:creationId xmlns:a16="http://schemas.microsoft.com/office/drawing/2014/main" id="{09BF4A82-403C-4A2C-814F-AC23A6DEBE18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4717268" y="5098435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4" name="Freeform 41">
            <a:extLst>
              <a:ext uri="{FF2B5EF4-FFF2-40B4-BE49-F238E27FC236}">
                <a16:creationId xmlns:a16="http://schemas.microsoft.com/office/drawing/2014/main" id="{300EACB2-70B5-4B3D-9151-4CE2D47BF4AD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4768808" y="5096890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93710673-ACC6-4B06-993E-58A7D5CC630D}"/>
              </a:ext>
            </a:extLst>
          </p:cNvPr>
          <p:cNvGrpSpPr/>
          <p:nvPr/>
        </p:nvGrpSpPr>
        <p:grpSpPr>
          <a:xfrm>
            <a:off x="4657067" y="4912392"/>
            <a:ext cx="182880" cy="178231"/>
            <a:chOff x="2259992" y="5234332"/>
            <a:chExt cx="182880" cy="178231"/>
          </a:xfrm>
        </p:grpSpPr>
        <p:pic>
          <p:nvPicPr>
            <p:cNvPr id="116" name="Picture 4" descr="http://ecx.images-amazon.com/images/I/21gbnPMvyEL._SL500_AA300_PIcountsize-100,TopRight,0,0_AA300_SH20_.jpg">
              <a:hlinkClick r:id="rId39"/>
              <a:extLst>
                <a:ext uri="{FF2B5EF4-FFF2-40B4-BE49-F238E27FC236}">
                  <a16:creationId xmlns:a16="http://schemas.microsoft.com/office/drawing/2014/main" id="{DA25F436-BE4F-48C0-A865-16B9CADF6E6E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9"/>
              </p:custDataLst>
            </p:nvPr>
          </p:nvPicPr>
          <p:blipFill rotWithShape="1">
            <a:blip r:embed="rId40" cstate="print">
              <a:extLst>
                <a:ext uri="{BEBA8EAE-BF5A-486C-A8C5-ECC9F3942E4B}">
                  <a14:imgProps xmlns:a14="http://schemas.microsoft.com/office/drawing/2010/main">
                    <a14:imgLayer r:embed="rId41">
                      <a14:imgEffect>
                        <a14:backgroundRemoval t="19000" b="78000" l="15667" r="796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72" t="22680" r="22983" b="24747"/>
            <a:stretch/>
          </p:blipFill>
          <p:spPr bwMode="auto">
            <a:xfrm>
              <a:off x="2259992" y="5234332"/>
              <a:ext cx="182880" cy="178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785662D1-C395-42C3-ABAE-44C8A8B4FE7A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2313047" y="5285062"/>
              <a:ext cx="72008" cy="7200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shade val="30000"/>
                    <a:satMod val="115000"/>
                  </a:schemeClr>
                </a:gs>
                <a:gs pos="50000">
                  <a:schemeClr val="bg1">
                    <a:lumMod val="75000"/>
                    <a:shade val="67500"/>
                    <a:satMod val="115000"/>
                  </a:schemeClr>
                </a:gs>
                <a:gs pos="100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pic>
          <p:nvPicPr>
            <p:cNvPr id="118" name="Picture 4">
              <a:extLst>
                <a:ext uri="{FF2B5EF4-FFF2-40B4-BE49-F238E27FC236}">
                  <a16:creationId xmlns:a16="http://schemas.microsoft.com/office/drawing/2014/main" id="{B8E52F34-5FBD-44C0-9D8E-CC36DB9860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43">
                      <a14:imgEffect>
                        <a14:backgroundRemoval t="0" b="99057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0030" y="5257713"/>
              <a:ext cx="142804" cy="127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9" name="TextBox 118">
            <a:extLst>
              <a:ext uri="{FF2B5EF4-FFF2-40B4-BE49-F238E27FC236}">
                <a16:creationId xmlns:a16="http://schemas.microsoft.com/office/drawing/2014/main" id="{8C8BE554-720A-4FEE-8727-628FB52D531A}"/>
              </a:ext>
            </a:extLst>
          </p:cNvPr>
          <p:cNvSpPr txBox="1"/>
          <p:nvPr/>
        </p:nvSpPr>
        <p:spPr>
          <a:xfrm>
            <a:off x="1458558" y="5535587"/>
            <a:ext cx="396612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Note: for static approval crack width 0.3mm</a:t>
            </a:r>
          </a:p>
        </p:txBody>
      </p:sp>
      <p:pic>
        <p:nvPicPr>
          <p:cNvPr id="120" name="Picture 33" descr="C:\Users\GRAMAXO\Documents\My Received Files\Picture1.png">
            <a:extLst>
              <a:ext uri="{FF2B5EF4-FFF2-40B4-BE49-F238E27FC236}">
                <a16:creationId xmlns:a16="http://schemas.microsoft.com/office/drawing/2014/main" id="{DD50CE58-FF43-4AAD-883D-814D031E8C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91" b="50000"/>
          <a:stretch/>
        </p:blipFill>
        <p:spPr bwMode="auto">
          <a:xfrm>
            <a:off x="336396" y="3095143"/>
            <a:ext cx="663692" cy="474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Content Placeholder 1">
            <a:extLst>
              <a:ext uri="{FF2B5EF4-FFF2-40B4-BE49-F238E27FC236}">
                <a16:creationId xmlns:a16="http://schemas.microsoft.com/office/drawing/2014/main" id="{78BE4C0C-1127-485A-B912-5E5621CB780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0000" y="6107986"/>
            <a:ext cx="10797488" cy="614898"/>
          </a:xfrm>
        </p:spPr>
        <p:txBody>
          <a:bodyPr/>
          <a:lstStyle/>
          <a:p>
            <a:r>
              <a:rPr lang="en-US" i="1" u="sng" dirty="0"/>
              <a:t>Note:</a:t>
            </a:r>
            <a:r>
              <a:rPr lang="en-US" dirty="0"/>
              <a:t> Cracked concrete relevant tests are conducted before qualifying anchor according to seismic C1 or C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3687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519ABEB-1361-4637-9502-EF6232F9ACC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6" name="Title 1">
            <a:extLst>
              <a:ext uri="{FF2B5EF4-FFF2-40B4-BE49-F238E27FC236}">
                <a16:creationId xmlns:a16="http://schemas.microsoft.com/office/drawing/2014/main" id="{5B86C479-FD77-47AA-83AF-CA39F4DF928E}"/>
              </a:ext>
            </a:extLst>
          </p:cNvPr>
          <p:cNvSpPr txBox="1">
            <a:spLocks/>
          </p:cNvSpPr>
          <p:nvPr/>
        </p:nvSpPr>
        <p:spPr>
          <a:xfrm>
            <a:off x="479425" y="377740"/>
            <a:ext cx="8127577" cy="9990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2453"/>
              </a:lnSpc>
              <a:spcBef>
                <a:spcPct val="0"/>
              </a:spcBef>
              <a:buNone/>
              <a:defRPr sz="225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Seismic category C2 </a:t>
            </a:r>
            <a:r>
              <a:rPr lang="en-US" dirty="0">
                <a:solidFill>
                  <a:srgbClr val="C00000"/>
                </a:solidFill>
              </a:rPr>
              <a:t>tests simulate earthquake load cycling in 0.8mm dynamic cracks</a:t>
            </a:r>
            <a:br>
              <a:rPr lang="en-US" dirty="0"/>
            </a:br>
            <a:endParaRPr lang="en-US" dirty="0"/>
          </a:p>
        </p:txBody>
      </p:sp>
      <p:sp>
        <p:nvSpPr>
          <p:cNvPr id="138" name="Slide Number Placeholder 4">
            <a:extLst>
              <a:ext uri="{FF2B5EF4-FFF2-40B4-BE49-F238E27FC236}">
                <a16:creationId xmlns:a16="http://schemas.microsoft.com/office/drawing/2014/main" id="{9A33C8BB-04BD-4333-A869-039CF5A61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</p:spPr>
        <p:txBody>
          <a:bodyPr/>
          <a:lstStyle/>
          <a:p>
            <a:fld id="{2B4178FD-43BF-4968-A299-3450DC0CDF97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4EBC5CA9-7BBC-4118-BD60-CD10F1C6B9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71937" y="1592264"/>
            <a:ext cx="4947292" cy="324355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9AAA3D9-3848-41EC-AFD1-9F47882465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9785" y="1592263"/>
            <a:ext cx="7537217" cy="324355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7586DF4-602F-43FD-95AD-1B7088D2023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69785" y="1592263"/>
            <a:ext cx="22851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ulsating tension test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C6D7430-5394-424B-9617-BC718C10882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8572" y="1592263"/>
            <a:ext cx="2413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lternating shear tests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E93D383-1705-44CC-874C-6DB2B42D51F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196140" y="1592263"/>
            <a:ext cx="24396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pen/closing crack width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A9C8CCCF-D715-4417-B9E0-0DDF95840BD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530408" y="2625775"/>
            <a:ext cx="1368152" cy="864096"/>
          </a:xfrm>
          <a:prstGeom prst="rect">
            <a:avLst/>
          </a:prstGeom>
          <a:blipFill>
            <a:blip r:embed="rId72">
              <a:duotone>
                <a:prstClr val="black"/>
                <a:srgbClr val="EAEAEA">
                  <a:tint val="45000"/>
                  <a:satMod val="400000"/>
                </a:srgbClr>
              </a:duotone>
            </a:blip>
            <a:tile tx="0" ty="0" sx="100000" sy="100000" flip="none" algn="tl"/>
          </a:blip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5" name="PPTShape_0" descr="http://www.hilti.es/data/product/prodoverview/5971.jpg">
            <a:extLst>
              <a:ext uri="{FF2B5EF4-FFF2-40B4-BE49-F238E27FC236}">
                <a16:creationId xmlns:a16="http://schemas.microsoft.com/office/drawing/2014/main" id="{0C65E522-00FF-403A-AB3D-C63C51ABB395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73" r:link="rId75"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ackgroundRemoval t="0" b="100000" l="0" r="1000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810842" y="2776560"/>
            <a:ext cx="807285" cy="175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6" name="Freeform 89">
            <a:extLst>
              <a:ext uri="{FF2B5EF4-FFF2-40B4-BE49-F238E27FC236}">
                <a16:creationId xmlns:a16="http://schemas.microsoft.com/office/drawing/2014/main" id="{BE5F9ADE-C529-4AC4-A1B5-C2653F4A693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241090" y="3268911"/>
            <a:ext cx="41275" cy="193675"/>
          </a:xfrm>
          <a:custGeom>
            <a:avLst/>
            <a:gdLst>
              <a:gd name="connsiteX0" fmla="*/ 0 w 41275"/>
              <a:gd name="connsiteY0" fmla="*/ 0 h 193675"/>
              <a:gd name="connsiteX1" fmla="*/ 6350 w 41275"/>
              <a:gd name="connsiteY1" fmla="*/ 25400 h 193675"/>
              <a:gd name="connsiteX2" fmla="*/ 12700 w 41275"/>
              <a:gd name="connsiteY2" fmla="*/ 34925 h 193675"/>
              <a:gd name="connsiteX3" fmla="*/ 15875 w 41275"/>
              <a:gd name="connsiteY3" fmla="*/ 47625 h 193675"/>
              <a:gd name="connsiteX4" fmla="*/ 22225 w 41275"/>
              <a:gd name="connsiteY4" fmla="*/ 66675 h 193675"/>
              <a:gd name="connsiteX5" fmla="*/ 28575 w 41275"/>
              <a:gd name="connsiteY5" fmla="*/ 85725 h 193675"/>
              <a:gd name="connsiteX6" fmla="*/ 41275 w 41275"/>
              <a:gd name="connsiteY6" fmla="*/ 120650 h 193675"/>
              <a:gd name="connsiteX7" fmla="*/ 38100 w 41275"/>
              <a:gd name="connsiteY7" fmla="*/ 168275 h 193675"/>
              <a:gd name="connsiteX8" fmla="*/ 41275 w 41275"/>
              <a:gd name="connsiteY8" fmla="*/ 193675 h 19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275" h="193675">
                <a:moveTo>
                  <a:pt x="0" y="0"/>
                </a:moveTo>
                <a:cubicBezTo>
                  <a:pt x="1208" y="6038"/>
                  <a:pt x="3096" y="18891"/>
                  <a:pt x="6350" y="25400"/>
                </a:cubicBezTo>
                <a:cubicBezTo>
                  <a:pt x="8057" y="28813"/>
                  <a:pt x="10583" y="31750"/>
                  <a:pt x="12700" y="34925"/>
                </a:cubicBezTo>
                <a:cubicBezTo>
                  <a:pt x="13758" y="39158"/>
                  <a:pt x="14621" y="43445"/>
                  <a:pt x="15875" y="47625"/>
                </a:cubicBezTo>
                <a:cubicBezTo>
                  <a:pt x="17798" y="54036"/>
                  <a:pt x="20108" y="60325"/>
                  <a:pt x="22225" y="66675"/>
                </a:cubicBezTo>
                <a:lnTo>
                  <a:pt x="28575" y="85725"/>
                </a:lnTo>
                <a:cubicBezTo>
                  <a:pt x="40701" y="122102"/>
                  <a:pt x="27963" y="100682"/>
                  <a:pt x="41275" y="120650"/>
                </a:cubicBezTo>
                <a:cubicBezTo>
                  <a:pt x="40217" y="136525"/>
                  <a:pt x="38100" y="152365"/>
                  <a:pt x="38100" y="168275"/>
                </a:cubicBezTo>
                <a:cubicBezTo>
                  <a:pt x="38100" y="176808"/>
                  <a:pt x="41275" y="185142"/>
                  <a:pt x="41275" y="193675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7" name="Freeform 90">
            <a:extLst>
              <a:ext uri="{FF2B5EF4-FFF2-40B4-BE49-F238E27FC236}">
                <a16:creationId xmlns:a16="http://schemas.microsoft.com/office/drawing/2014/main" id="{5F4BF9A5-7A71-4B6F-8CFD-51F01123545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125099" y="2631530"/>
            <a:ext cx="66966" cy="835819"/>
          </a:xfrm>
          <a:custGeom>
            <a:avLst/>
            <a:gdLst>
              <a:gd name="connsiteX0" fmla="*/ 28575 w 66966"/>
              <a:gd name="connsiteY0" fmla="*/ 0 h 835819"/>
              <a:gd name="connsiteX1" fmla="*/ 26193 w 66966"/>
              <a:gd name="connsiteY1" fmla="*/ 11906 h 835819"/>
              <a:gd name="connsiteX2" fmla="*/ 21431 w 66966"/>
              <a:gd name="connsiteY2" fmla="*/ 26194 h 835819"/>
              <a:gd name="connsiteX3" fmla="*/ 19050 w 66966"/>
              <a:gd name="connsiteY3" fmla="*/ 59531 h 835819"/>
              <a:gd name="connsiteX4" fmla="*/ 14287 w 66966"/>
              <a:gd name="connsiteY4" fmla="*/ 76200 h 835819"/>
              <a:gd name="connsiteX5" fmla="*/ 16668 w 66966"/>
              <a:gd name="connsiteY5" fmla="*/ 116681 h 835819"/>
              <a:gd name="connsiteX6" fmla="*/ 23812 w 66966"/>
              <a:gd name="connsiteY6" fmla="*/ 130969 h 835819"/>
              <a:gd name="connsiteX7" fmla="*/ 26193 w 66966"/>
              <a:gd name="connsiteY7" fmla="*/ 138112 h 835819"/>
              <a:gd name="connsiteX8" fmla="*/ 23812 w 66966"/>
              <a:gd name="connsiteY8" fmla="*/ 176212 h 835819"/>
              <a:gd name="connsiteX9" fmla="*/ 19050 w 66966"/>
              <a:gd name="connsiteY9" fmla="*/ 190500 h 835819"/>
              <a:gd name="connsiteX10" fmla="*/ 14287 w 66966"/>
              <a:gd name="connsiteY10" fmla="*/ 209550 h 835819"/>
              <a:gd name="connsiteX11" fmla="*/ 16668 w 66966"/>
              <a:gd name="connsiteY11" fmla="*/ 233362 h 835819"/>
              <a:gd name="connsiteX12" fmla="*/ 23812 w 66966"/>
              <a:gd name="connsiteY12" fmla="*/ 247650 h 835819"/>
              <a:gd name="connsiteX13" fmla="*/ 28575 w 66966"/>
              <a:gd name="connsiteY13" fmla="*/ 264319 h 835819"/>
              <a:gd name="connsiteX14" fmla="*/ 30956 w 66966"/>
              <a:gd name="connsiteY14" fmla="*/ 271462 h 835819"/>
              <a:gd name="connsiteX15" fmla="*/ 23812 w 66966"/>
              <a:gd name="connsiteY15" fmla="*/ 295275 h 835819"/>
              <a:gd name="connsiteX16" fmla="*/ 21431 w 66966"/>
              <a:gd name="connsiteY16" fmla="*/ 311944 h 835819"/>
              <a:gd name="connsiteX17" fmla="*/ 14287 w 66966"/>
              <a:gd name="connsiteY17" fmla="*/ 319087 h 835819"/>
              <a:gd name="connsiteX18" fmla="*/ 19050 w 66966"/>
              <a:gd name="connsiteY18" fmla="*/ 342900 h 835819"/>
              <a:gd name="connsiteX19" fmla="*/ 23812 w 66966"/>
              <a:gd name="connsiteY19" fmla="*/ 361950 h 835819"/>
              <a:gd name="connsiteX20" fmla="*/ 19050 w 66966"/>
              <a:gd name="connsiteY20" fmla="*/ 419100 h 835819"/>
              <a:gd name="connsiteX21" fmla="*/ 16668 w 66966"/>
              <a:gd name="connsiteY21" fmla="*/ 431006 h 835819"/>
              <a:gd name="connsiteX22" fmla="*/ 14287 w 66966"/>
              <a:gd name="connsiteY22" fmla="*/ 452437 h 835819"/>
              <a:gd name="connsiteX23" fmla="*/ 16668 w 66966"/>
              <a:gd name="connsiteY23" fmla="*/ 495300 h 835819"/>
              <a:gd name="connsiteX24" fmla="*/ 21431 w 66966"/>
              <a:gd name="connsiteY24" fmla="*/ 511969 h 835819"/>
              <a:gd name="connsiteX25" fmla="*/ 11906 w 66966"/>
              <a:gd name="connsiteY25" fmla="*/ 523875 h 835819"/>
              <a:gd name="connsiteX26" fmla="*/ 7143 w 66966"/>
              <a:gd name="connsiteY26" fmla="*/ 533400 h 835819"/>
              <a:gd name="connsiteX27" fmla="*/ 0 w 66966"/>
              <a:gd name="connsiteY27" fmla="*/ 547687 h 835819"/>
              <a:gd name="connsiteX28" fmla="*/ 2381 w 66966"/>
              <a:gd name="connsiteY28" fmla="*/ 554831 h 835819"/>
              <a:gd name="connsiteX29" fmla="*/ 11906 w 66966"/>
              <a:gd name="connsiteY29" fmla="*/ 569119 h 835819"/>
              <a:gd name="connsiteX30" fmla="*/ 16668 w 66966"/>
              <a:gd name="connsiteY30" fmla="*/ 583406 h 835819"/>
              <a:gd name="connsiteX31" fmla="*/ 19050 w 66966"/>
              <a:gd name="connsiteY31" fmla="*/ 590550 h 835819"/>
              <a:gd name="connsiteX32" fmla="*/ 21431 w 66966"/>
              <a:gd name="connsiteY32" fmla="*/ 647700 h 835819"/>
              <a:gd name="connsiteX33" fmla="*/ 28575 w 66966"/>
              <a:gd name="connsiteY33" fmla="*/ 652462 h 835819"/>
              <a:gd name="connsiteX34" fmla="*/ 30956 w 66966"/>
              <a:gd name="connsiteY34" fmla="*/ 661987 h 835819"/>
              <a:gd name="connsiteX35" fmla="*/ 45243 w 66966"/>
              <a:gd name="connsiteY35" fmla="*/ 690562 h 835819"/>
              <a:gd name="connsiteX36" fmla="*/ 50006 w 66966"/>
              <a:gd name="connsiteY36" fmla="*/ 697706 h 835819"/>
              <a:gd name="connsiteX37" fmla="*/ 54768 w 66966"/>
              <a:gd name="connsiteY37" fmla="*/ 731044 h 835819"/>
              <a:gd name="connsiteX38" fmla="*/ 57150 w 66966"/>
              <a:gd name="connsiteY38" fmla="*/ 738187 h 835819"/>
              <a:gd name="connsiteX39" fmla="*/ 59531 w 66966"/>
              <a:gd name="connsiteY39" fmla="*/ 757237 h 835819"/>
              <a:gd name="connsiteX40" fmla="*/ 61912 w 66966"/>
              <a:gd name="connsiteY40" fmla="*/ 766762 h 835819"/>
              <a:gd name="connsiteX41" fmla="*/ 64293 w 66966"/>
              <a:gd name="connsiteY41" fmla="*/ 781050 h 835819"/>
              <a:gd name="connsiteX42" fmla="*/ 66675 w 66966"/>
              <a:gd name="connsiteY42" fmla="*/ 790575 h 835819"/>
              <a:gd name="connsiteX43" fmla="*/ 66675 w 66966"/>
              <a:gd name="connsiteY43" fmla="*/ 835819 h 835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66966" h="835819">
                <a:moveTo>
                  <a:pt x="28575" y="0"/>
                </a:moveTo>
                <a:cubicBezTo>
                  <a:pt x="27781" y="3969"/>
                  <a:pt x="27258" y="8001"/>
                  <a:pt x="26193" y="11906"/>
                </a:cubicBezTo>
                <a:cubicBezTo>
                  <a:pt x="24872" y="16749"/>
                  <a:pt x="21431" y="26194"/>
                  <a:pt x="21431" y="26194"/>
                </a:cubicBezTo>
                <a:cubicBezTo>
                  <a:pt x="20637" y="37306"/>
                  <a:pt x="20280" y="48459"/>
                  <a:pt x="19050" y="59531"/>
                </a:cubicBezTo>
                <a:cubicBezTo>
                  <a:pt x="18552" y="64010"/>
                  <a:pt x="15791" y="71689"/>
                  <a:pt x="14287" y="76200"/>
                </a:cubicBezTo>
                <a:cubicBezTo>
                  <a:pt x="15081" y="89694"/>
                  <a:pt x="15323" y="103231"/>
                  <a:pt x="16668" y="116681"/>
                </a:cubicBezTo>
                <a:cubicBezTo>
                  <a:pt x="17416" y="124160"/>
                  <a:pt x="20553" y="124450"/>
                  <a:pt x="23812" y="130969"/>
                </a:cubicBezTo>
                <a:cubicBezTo>
                  <a:pt x="24934" y="133214"/>
                  <a:pt x="25399" y="135731"/>
                  <a:pt x="26193" y="138112"/>
                </a:cubicBezTo>
                <a:cubicBezTo>
                  <a:pt x="25399" y="150812"/>
                  <a:pt x="25531" y="163604"/>
                  <a:pt x="23812" y="176212"/>
                </a:cubicBezTo>
                <a:cubicBezTo>
                  <a:pt x="23134" y="181186"/>
                  <a:pt x="20035" y="185577"/>
                  <a:pt x="19050" y="190500"/>
                </a:cubicBezTo>
                <a:cubicBezTo>
                  <a:pt x="16176" y="204867"/>
                  <a:pt x="17948" y="198566"/>
                  <a:pt x="14287" y="209550"/>
                </a:cubicBezTo>
                <a:cubicBezTo>
                  <a:pt x="15081" y="217487"/>
                  <a:pt x="15455" y="225478"/>
                  <a:pt x="16668" y="233362"/>
                </a:cubicBezTo>
                <a:cubicBezTo>
                  <a:pt x="17998" y="242005"/>
                  <a:pt x="19889" y="239804"/>
                  <a:pt x="23812" y="247650"/>
                </a:cubicBezTo>
                <a:cubicBezTo>
                  <a:pt x="25713" y="251453"/>
                  <a:pt x="27559" y="260764"/>
                  <a:pt x="28575" y="264319"/>
                </a:cubicBezTo>
                <a:cubicBezTo>
                  <a:pt x="29265" y="266732"/>
                  <a:pt x="30162" y="269081"/>
                  <a:pt x="30956" y="271462"/>
                </a:cubicBezTo>
                <a:cubicBezTo>
                  <a:pt x="28469" y="278921"/>
                  <a:pt x="25252" y="287355"/>
                  <a:pt x="23812" y="295275"/>
                </a:cubicBezTo>
                <a:cubicBezTo>
                  <a:pt x="22808" y="300797"/>
                  <a:pt x="23516" y="306733"/>
                  <a:pt x="21431" y="311944"/>
                </a:cubicBezTo>
                <a:cubicBezTo>
                  <a:pt x="20180" y="315071"/>
                  <a:pt x="16668" y="316706"/>
                  <a:pt x="14287" y="319087"/>
                </a:cubicBezTo>
                <a:cubicBezTo>
                  <a:pt x="20122" y="359933"/>
                  <a:pt x="13507" y="320730"/>
                  <a:pt x="19050" y="342900"/>
                </a:cubicBezTo>
                <a:cubicBezTo>
                  <a:pt x="24801" y="365903"/>
                  <a:pt x="18366" y="345611"/>
                  <a:pt x="23812" y="361950"/>
                </a:cubicBezTo>
                <a:cubicBezTo>
                  <a:pt x="22489" y="381800"/>
                  <a:pt x="21823" y="399688"/>
                  <a:pt x="19050" y="419100"/>
                </a:cubicBezTo>
                <a:cubicBezTo>
                  <a:pt x="18478" y="423107"/>
                  <a:pt x="17240" y="426999"/>
                  <a:pt x="16668" y="431006"/>
                </a:cubicBezTo>
                <a:cubicBezTo>
                  <a:pt x="15651" y="438121"/>
                  <a:pt x="15081" y="445293"/>
                  <a:pt x="14287" y="452437"/>
                </a:cubicBezTo>
                <a:cubicBezTo>
                  <a:pt x="15081" y="466725"/>
                  <a:pt x="15372" y="481049"/>
                  <a:pt x="16668" y="495300"/>
                </a:cubicBezTo>
                <a:cubicBezTo>
                  <a:pt x="17041" y="499406"/>
                  <a:pt x="20023" y="507744"/>
                  <a:pt x="21431" y="511969"/>
                </a:cubicBezTo>
                <a:cubicBezTo>
                  <a:pt x="15473" y="535805"/>
                  <a:pt x="24432" y="511350"/>
                  <a:pt x="11906" y="523875"/>
                </a:cubicBezTo>
                <a:cubicBezTo>
                  <a:pt x="9396" y="526385"/>
                  <a:pt x="8904" y="530318"/>
                  <a:pt x="7143" y="533400"/>
                </a:cubicBezTo>
                <a:cubicBezTo>
                  <a:pt x="-241" y="546322"/>
                  <a:pt x="4365" y="534593"/>
                  <a:pt x="0" y="547687"/>
                </a:cubicBezTo>
                <a:cubicBezTo>
                  <a:pt x="794" y="550068"/>
                  <a:pt x="1162" y="552637"/>
                  <a:pt x="2381" y="554831"/>
                </a:cubicBezTo>
                <a:cubicBezTo>
                  <a:pt x="5161" y="559835"/>
                  <a:pt x="11906" y="569119"/>
                  <a:pt x="11906" y="569119"/>
                </a:cubicBezTo>
                <a:lnTo>
                  <a:pt x="16668" y="583406"/>
                </a:lnTo>
                <a:lnTo>
                  <a:pt x="19050" y="590550"/>
                </a:lnTo>
                <a:cubicBezTo>
                  <a:pt x="19844" y="609600"/>
                  <a:pt x="18532" y="628855"/>
                  <a:pt x="21431" y="647700"/>
                </a:cubicBezTo>
                <a:cubicBezTo>
                  <a:pt x="21866" y="650529"/>
                  <a:pt x="26987" y="650081"/>
                  <a:pt x="28575" y="652462"/>
                </a:cubicBezTo>
                <a:cubicBezTo>
                  <a:pt x="30390" y="655185"/>
                  <a:pt x="30016" y="658852"/>
                  <a:pt x="30956" y="661987"/>
                </a:cubicBezTo>
                <a:cubicBezTo>
                  <a:pt x="36333" y="679913"/>
                  <a:pt x="34295" y="674141"/>
                  <a:pt x="45243" y="690562"/>
                </a:cubicBezTo>
                <a:lnTo>
                  <a:pt x="50006" y="697706"/>
                </a:lnTo>
                <a:cubicBezTo>
                  <a:pt x="55906" y="715410"/>
                  <a:pt x="49549" y="694518"/>
                  <a:pt x="54768" y="731044"/>
                </a:cubicBezTo>
                <a:cubicBezTo>
                  <a:pt x="55123" y="733529"/>
                  <a:pt x="56356" y="735806"/>
                  <a:pt x="57150" y="738187"/>
                </a:cubicBezTo>
                <a:cubicBezTo>
                  <a:pt x="57944" y="744537"/>
                  <a:pt x="58479" y="750925"/>
                  <a:pt x="59531" y="757237"/>
                </a:cubicBezTo>
                <a:cubicBezTo>
                  <a:pt x="60069" y="760465"/>
                  <a:pt x="61270" y="763553"/>
                  <a:pt x="61912" y="766762"/>
                </a:cubicBezTo>
                <a:cubicBezTo>
                  <a:pt x="62859" y="771497"/>
                  <a:pt x="63346" y="776315"/>
                  <a:pt x="64293" y="781050"/>
                </a:cubicBezTo>
                <a:cubicBezTo>
                  <a:pt x="64935" y="784259"/>
                  <a:pt x="66533" y="787305"/>
                  <a:pt x="66675" y="790575"/>
                </a:cubicBezTo>
                <a:cubicBezTo>
                  <a:pt x="67330" y="805642"/>
                  <a:pt x="66675" y="820738"/>
                  <a:pt x="66675" y="835819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CA3711F-428A-458B-8B49-EDC61830D7B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05027" y="2623910"/>
            <a:ext cx="1368152" cy="864096"/>
          </a:xfrm>
          <a:prstGeom prst="rect">
            <a:avLst/>
          </a:prstGeom>
          <a:blipFill>
            <a:blip r:embed="rId72">
              <a:duotone>
                <a:prstClr val="black"/>
                <a:srgbClr val="EAEAEA">
                  <a:tint val="45000"/>
                  <a:satMod val="400000"/>
                </a:srgbClr>
              </a:duotone>
            </a:blip>
            <a:tile tx="0" ty="0" sx="100000" sy="100000" flip="none" algn="tl"/>
          </a:blip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9" name="PPTShape_0" descr="http://www.hilti.es/data/product/prodoverview/5971.jpg">
            <a:extLst>
              <a:ext uri="{FF2B5EF4-FFF2-40B4-BE49-F238E27FC236}">
                <a16:creationId xmlns:a16="http://schemas.microsoft.com/office/drawing/2014/main" id="{78D68CE1-EC95-4467-8B7A-8822D0D81745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73" r:link="rId75"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ackgroundRemoval t="0" b="100000" l="0" r="1000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3985461" y="2774695"/>
            <a:ext cx="807285" cy="175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0" name="Freeform 93">
            <a:extLst>
              <a:ext uri="{FF2B5EF4-FFF2-40B4-BE49-F238E27FC236}">
                <a16:creationId xmlns:a16="http://schemas.microsoft.com/office/drawing/2014/main" id="{641A8293-54AD-4DDA-B5AC-28CC11B910E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415709" y="3267046"/>
            <a:ext cx="41275" cy="193675"/>
          </a:xfrm>
          <a:custGeom>
            <a:avLst/>
            <a:gdLst>
              <a:gd name="connsiteX0" fmla="*/ 0 w 41275"/>
              <a:gd name="connsiteY0" fmla="*/ 0 h 193675"/>
              <a:gd name="connsiteX1" fmla="*/ 6350 w 41275"/>
              <a:gd name="connsiteY1" fmla="*/ 25400 h 193675"/>
              <a:gd name="connsiteX2" fmla="*/ 12700 w 41275"/>
              <a:gd name="connsiteY2" fmla="*/ 34925 h 193675"/>
              <a:gd name="connsiteX3" fmla="*/ 15875 w 41275"/>
              <a:gd name="connsiteY3" fmla="*/ 47625 h 193675"/>
              <a:gd name="connsiteX4" fmla="*/ 22225 w 41275"/>
              <a:gd name="connsiteY4" fmla="*/ 66675 h 193675"/>
              <a:gd name="connsiteX5" fmla="*/ 28575 w 41275"/>
              <a:gd name="connsiteY5" fmla="*/ 85725 h 193675"/>
              <a:gd name="connsiteX6" fmla="*/ 41275 w 41275"/>
              <a:gd name="connsiteY6" fmla="*/ 120650 h 193675"/>
              <a:gd name="connsiteX7" fmla="*/ 38100 w 41275"/>
              <a:gd name="connsiteY7" fmla="*/ 168275 h 193675"/>
              <a:gd name="connsiteX8" fmla="*/ 41275 w 41275"/>
              <a:gd name="connsiteY8" fmla="*/ 193675 h 19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275" h="193675">
                <a:moveTo>
                  <a:pt x="0" y="0"/>
                </a:moveTo>
                <a:cubicBezTo>
                  <a:pt x="1208" y="6038"/>
                  <a:pt x="3096" y="18891"/>
                  <a:pt x="6350" y="25400"/>
                </a:cubicBezTo>
                <a:cubicBezTo>
                  <a:pt x="8057" y="28813"/>
                  <a:pt x="10583" y="31750"/>
                  <a:pt x="12700" y="34925"/>
                </a:cubicBezTo>
                <a:cubicBezTo>
                  <a:pt x="13758" y="39158"/>
                  <a:pt x="14621" y="43445"/>
                  <a:pt x="15875" y="47625"/>
                </a:cubicBezTo>
                <a:cubicBezTo>
                  <a:pt x="17798" y="54036"/>
                  <a:pt x="20108" y="60325"/>
                  <a:pt x="22225" y="66675"/>
                </a:cubicBezTo>
                <a:lnTo>
                  <a:pt x="28575" y="85725"/>
                </a:lnTo>
                <a:cubicBezTo>
                  <a:pt x="40701" y="122102"/>
                  <a:pt x="27963" y="100682"/>
                  <a:pt x="41275" y="120650"/>
                </a:cubicBezTo>
                <a:cubicBezTo>
                  <a:pt x="40217" y="136525"/>
                  <a:pt x="38100" y="152365"/>
                  <a:pt x="38100" y="168275"/>
                </a:cubicBezTo>
                <a:cubicBezTo>
                  <a:pt x="38100" y="176808"/>
                  <a:pt x="41275" y="185142"/>
                  <a:pt x="41275" y="193675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1" name="Freeform 94">
            <a:extLst>
              <a:ext uri="{FF2B5EF4-FFF2-40B4-BE49-F238E27FC236}">
                <a16:creationId xmlns:a16="http://schemas.microsoft.com/office/drawing/2014/main" id="{B0F19B9B-94A2-4941-82BE-0651E98D188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299718" y="2629665"/>
            <a:ext cx="66966" cy="835819"/>
          </a:xfrm>
          <a:custGeom>
            <a:avLst/>
            <a:gdLst>
              <a:gd name="connsiteX0" fmla="*/ 28575 w 66966"/>
              <a:gd name="connsiteY0" fmla="*/ 0 h 835819"/>
              <a:gd name="connsiteX1" fmla="*/ 26193 w 66966"/>
              <a:gd name="connsiteY1" fmla="*/ 11906 h 835819"/>
              <a:gd name="connsiteX2" fmla="*/ 21431 w 66966"/>
              <a:gd name="connsiteY2" fmla="*/ 26194 h 835819"/>
              <a:gd name="connsiteX3" fmla="*/ 19050 w 66966"/>
              <a:gd name="connsiteY3" fmla="*/ 59531 h 835819"/>
              <a:gd name="connsiteX4" fmla="*/ 14287 w 66966"/>
              <a:gd name="connsiteY4" fmla="*/ 76200 h 835819"/>
              <a:gd name="connsiteX5" fmla="*/ 16668 w 66966"/>
              <a:gd name="connsiteY5" fmla="*/ 116681 h 835819"/>
              <a:gd name="connsiteX6" fmla="*/ 23812 w 66966"/>
              <a:gd name="connsiteY6" fmla="*/ 130969 h 835819"/>
              <a:gd name="connsiteX7" fmla="*/ 26193 w 66966"/>
              <a:gd name="connsiteY7" fmla="*/ 138112 h 835819"/>
              <a:gd name="connsiteX8" fmla="*/ 23812 w 66966"/>
              <a:gd name="connsiteY8" fmla="*/ 176212 h 835819"/>
              <a:gd name="connsiteX9" fmla="*/ 19050 w 66966"/>
              <a:gd name="connsiteY9" fmla="*/ 190500 h 835819"/>
              <a:gd name="connsiteX10" fmla="*/ 14287 w 66966"/>
              <a:gd name="connsiteY10" fmla="*/ 209550 h 835819"/>
              <a:gd name="connsiteX11" fmla="*/ 16668 w 66966"/>
              <a:gd name="connsiteY11" fmla="*/ 233362 h 835819"/>
              <a:gd name="connsiteX12" fmla="*/ 23812 w 66966"/>
              <a:gd name="connsiteY12" fmla="*/ 247650 h 835819"/>
              <a:gd name="connsiteX13" fmla="*/ 28575 w 66966"/>
              <a:gd name="connsiteY13" fmla="*/ 264319 h 835819"/>
              <a:gd name="connsiteX14" fmla="*/ 30956 w 66966"/>
              <a:gd name="connsiteY14" fmla="*/ 271462 h 835819"/>
              <a:gd name="connsiteX15" fmla="*/ 23812 w 66966"/>
              <a:gd name="connsiteY15" fmla="*/ 295275 h 835819"/>
              <a:gd name="connsiteX16" fmla="*/ 21431 w 66966"/>
              <a:gd name="connsiteY16" fmla="*/ 311944 h 835819"/>
              <a:gd name="connsiteX17" fmla="*/ 14287 w 66966"/>
              <a:gd name="connsiteY17" fmla="*/ 319087 h 835819"/>
              <a:gd name="connsiteX18" fmla="*/ 19050 w 66966"/>
              <a:gd name="connsiteY18" fmla="*/ 342900 h 835819"/>
              <a:gd name="connsiteX19" fmla="*/ 23812 w 66966"/>
              <a:gd name="connsiteY19" fmla="*/ 361950 h 835819"/>
              <a:gd name="connsiteX20" fmla="*/ 19050 w 66966"/>
              <a:gd name="connsiteY20" fmla="*/ 419100 h 835819"/>
              <a:gd name="connsiteX21" fmla="*/ 16668 w 66966"/>
              <a:gd name="connsiteY21" fmla="*/ 431006 h 835819"/>
              <a:gd name="connsiteX22" fmla="*/ 14287 w 66966"/>
              <a:gd name="connsiteY22" fmla="*/ 452437 h 835819"/>
              <a:gd name="connsiteX23" fmla="*/ 16668 w 66966"/>
              <a:gd name="connsiteY23" fmla="*/ 495300 h 835819"/>
              <a:gd name="connsiteX24" fmla="*/ 21431 w 66966"/>
              <a:gd name="connsiteY24" fmla="*/ 511969 h 835819"/>
              <a:gd name="connsiteX25" fmla="*/ 11906 w 66966"/>
              <a:gd name="connsiteY25" fmla="*/ 523875 h 835819"/>
              <a:gd name="connsiteX26" fmla="*/ 7143 w 66966"/>
              <a:gd name="connsiteY26" fmla="*/ 533400 h 835819"/>
              <a:gd name="connsiteX27" fmla="*/ 0 w 66966"/>
              <a:gd name="connsiteY27" fmla="*/ 547687 h 835819"/>
              <a:gd name="connsiteX28" fmla="*/ 2381 w 66966"/>
              <a:gd name="connsiteY28" fmla="*/ 554831 h 835819"/>
              <a:gd name="connsiteX29" fmla="*/ 11906 w 66966"/>
              <a:gd name="connsiteY29" fmla="*/ 569119 h 835819"/>
              <a:gd name="connsiteX30" fmla="*/ 16668 w 66966"/>
              <a:gd name="connsiteY30" fmla="*/ 583406 h 835819"/>
              <a:gd name="connsiteX31" fmla="*/ 19050 w 66966"/>
              <a:gd name="connsiteY31" fmla="*/ 590550 h 835819"/>
              <a:gd name="connsiteX32" fmla="*/ 21431 w 66966"/>
              <a:gd name="connsiteY32" fmla="*/ 647700 h 835819"/>
              <a:gd name="connsiteX33" fmla="*/ 28575 w 66966"/>
              <a:gd name="connsiteY33" fmla="*/ 652462 h 835819"/>
              <a:gd name="connsiteX34" fmla="*/ 30956 w 66966"/>
              <a:gd name="connsiteY34" fmla="*/ 661987 h 835819"/>
              <a:gd name="connsiteX35" fmla="*/ 45243 w 66966"/>
              <a:gd name="connsiteY35" fmla="*/ 690562 h 835819"/>
              <a:gd name="connsiteX36" fmla="*/ 50006 w 66966"/>
              <a:gd name="connsiteY36" fmla="*/ 697706 h 835819"/>
              <a:gd name="connsiteX37" fmla="*/ 54768 w 66966"/>
              <a:gd name="connsiteY37" fmla="*/ 731044 h 835819"/>
              <a:gd name="connsiteX38" fmla="*/ 57150 w 66966"/>
              <a:gd name="connsiteY38" fmla="*/ 738187 h 835819"/>
              <a:gd name="connsiteX39" fmla="*/ 59531 w 66966"/>
              <a:gd name="connsiteY39" fmla="*/ 757237 h 835819"/>
              <a:gd name="connsiteX40" fmla="*/ 61912 w 66966"/>
              <a:gd name="connsiteY40" fmla="*/ 766762 h 835819"/>
              <a:gd name="connsiteX41" fmla="*/ 64293 w 66966"/>
              <a:gd name="connsiteY41" fmla="*/ 781050 h 835819"/>
              <a:gd name="connsiteX42" fmla="*/ 66675 w 66966"/>
              <a:gd name="connsiteY42" fmla="*/ 790575 h 835819"/>
              <a:gd name="connsiteX43" fmla="*/ 66675 w 66966"/>
              <a:gd name="connsiteY43" fmla="*/ 835819 h 835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66966" h="835819">
                <a:moveTo>
                  <a:pt x="28575" y="0"/>
                </a:moveTo>
                <a:cubicBezTo>
                  <a:pt x="27781" y="3969"/>
                  <a:pt x="27258" y="8001"/>
                  <a:pt x="26193" y="11906"/>
                </a:cubicBezTo>
                <a:cubicBezTo>
                  <a:pt x="24872" y="16749"/>
                  <a:pt x="21431" y="26194"/>
                  <a:pt x="21431" y="26194"/>
                </a:cubicBezTo>
                <a:cubicBezTo>
                  <a:pt x="20637" y="37306"/>
                  <a:pt x="20280" y="48459"/>
                  <a:pt x="19050" y="59531"/>
                </a:cubicBezTo>
                <a:cubicBezTo>
                  <a:pt x="18552" y="64010"/>
                  <a:pt x="15791" y="71689"/>
                  <a:pt x="14287" y="76200"/>
                </a:cubicBezTo>
                <a:cubicBezTo>
                  <a:pt x="15081" y="89694"/>
                  <a:pt x="15323" y="103231"/>
                  <a:pt x="16668" y="116681"/>
                </a:cubicBezTo>
                <a:cubicBezTo>
                  <a:pt x="17416" y="124160"/>
                  <a:pt x="20553" y="124450"/>
                  <a:pt x="23812" y="130969"/>
                </a:cubicBezTo>
                <a:cubicBezTo>
                  <a:pt x="24934" y="133214"/>
                  <a:pt x="25399" y="135731"/>
                  <a:pt x="26193" y="138112"/>
                </a:cubicBezTo>
                <a:cubicBezTo>
                  <a:pt x="25399" y="150812"/>
                  <a:pt x="25531" y="163604"/>
                  <a:pt x="23812" y="176212"/>
                </a:cubicBezTo>
                <a:cubicBezTo>
                  <a:pt x="23134" y="181186"/>
                  <a:pt x="20035" y="185577"/>
                  <a:pt x="19050" y="190500"/>
                </a:cubicBezTo>
                <a:cubicBezTo>
                  <a:pt x="16176" y="204867"/>
                  <a:pt x="17948" y="198566"/>
                  <a:pt x="14287" y="209550"/>
                </a:cubicBezTo>
                <a:cubicBezTo>
                  <a:pt x="15081" y="217487"/>
                  <a:pt x="15455" y="225478"/>
                  <a:pt x="16668" y="233362"/>
                </a:cubicBezTo>
                <a:cubicBezTo>
                  <a:pt x="17998" y="242005"/>
                  <a:pt x="19889" y="239804"/>
                  <a:pt x="23812" y="247650"/>
                </a:cubicBezTo>
                <a:cubicBezTo>
                  <a:pt x="25713" y="251453"/>
                  <a:pt x="27559" y="260764"/>
                  <a:pt x="28575" y="264319"/>
                </a:cubicBezTo>
                <a:cubicBezTo>
                  <a:pt x="29265" y="266732"/>
                  <a:pt x="30162" y="269081"/>
                  <a:pt x="30956" y="271462"/>
                </a:cubicBezTo>
                <a:cubicBezTo>
                  <a:pt x="28469" y="278921"/>
                  <a:pt x="25252" y="287355"/>
                  <a:pt x="23812" y="295275"/>
                </a:cubicBezTo>
                <a:cubicBezTo>
                  <a:pt x="22808" y="300797"/>
                  <a:pt x="23516" y="306733"/>
                  <a:pt x="21431" y="311944"/>
                </a:cubicBezTo>
                <a:cubicBezTo>
                  <a:pt x="20180" y="315071"/>
                  <a:pt x="16668" y="316706"/>
                  <a:pt x="14287" y="319087"/>
                </a:cubicBezTo>
                <a:cubicBezTo>
                  <a:pt x="20122" y="359933"/>
                  <a:pt x="13507" y="320730"/>
                  <a:pt x="19050" y="342900"/>
                </a:cubicBezTo>
                <a:cubicBezTo>
                  <a:pt x="24801" y="365903"/>
                  <a:pt x="18366" y="345611"/>
                  <a:pt x="23812" y="361950"/>
                </a:cubicBezTo>
                <a:cubicBezTo>
                  <a:pt x="22489" y="381800"/>
                  <a:pt x="21823" y="399688"/>
                  <a:pt x="19050" y="419100"/>
                </a:cubicBezTo>
                <a:cubicBezTo>
                  <a:pt x="18478" y="423107"/>
                  <a:pt x="17240" y="426999"/>
                  <a:pt x="16668" y="431006"/>
                </a:cubicBezTo>
                <a:cubicBezTo>
                  <a:pt x="15651" y="438121"/>
                  <a:pt x="15081" y="445293"/>
                  <a:pt x="14287" y="452437"/>
                </a:cubicBezTo>
                <a:cubicBezTo>
                  <a:pt x="15081" y="466725"/>
                  <a:pt x="15372" y="481049"/>
                  <a:pt x="16668" y="495300"/>
                </a:cubicBezTo>
                <a:cubicBezTo>
                  <a:pt x="17041" y="499406"/>
                  <a:pt x="20023" y="507744"/>
                  <a:pt x="21431" y="511969"/>
                </a:cubicBezTo>
                <a:cubicBezTo>
                  <a:pt x="15473" y="535805"/>
                  <a:pt x="24432" y="511350"/>
                  <a:pt x="11906" y="523875"/>
                </a:cubicBezTo>
                <a:cubicBezTo>
                  <a:pt x="9396" y="526385"/>
                  <a:pt x="8904" y="530318"/>
                  <a:pt x="7143" y="533400"/>
                </a:cubicBezTo>
                <a:cubicBezTo>
                  <a:pt x="-241" y="546322"/>
                  <a:pt x="4365" y="534593"/>
                  <a:pt x="0" y="547687"/>
                </a:cubicBezTo>
                <a:cubicBezTo>
                  <a:pt x="794" y="550068"/>
                  <a:pt x="1162" y="552637"/>
                  <a:pt x="2381" y="554831"/>
                </a:cubicBezTo>
                <a:cubicBezTo>
                  <a:pt x="5161" y="559835"/>
                  <a:pt x="11906" y="569119"/>
                  <a:pt x="11906" y="569119"/>
                </a:cubicBezTo>
                <a:lnTo>
                  <a:pt x="16668" y="583406"/>
                </a:lnTo>
                <a:lnTo>
                  <a:pt x="19050" y="590550"/>
                </a:lnTo>
                <a:cubicBezTo>
                  <a:pt x="19844" y="609600"/>
                  <a:pt x="18532" y="628855"/>
                  <a:pt x="21431" y="647700"/>
                </a:cubicBezTo>
                <a:cubicBezTo>
                  <a:pt x="21866" y="650529"/>
                  <a:pt x="26987" y="650081"/>
                  <a:pt x="28575" y="652462"/>
                </a:cubicBezTo>
                <a:cubicBezTo>
                  <a:pt x="30390" y="655185"/>
                  <a:pt x="30016" y="658852"/>
                  <a:pt x="30956" y="661987"/>
                </a:cubicBezTo>
                <a:cubicBezTo>
                  <a:pt x="36333" y="679913"/>
                  <a:pt x="34295" y="674141"/>
                  <a:pt x="45243" y="690562"/>
                </a:cubicBezTo>
                <a:lnTo>
                  <a:pt x="50006" y="697706"/>
                </a:lnTo>
                <a:cubicBezTo>
                  <a:pt x="55906" y="715410"/>
                  <a:pt x="49549" y="694518"/>
                  <a:pt x="54768" y="731044"/>
                </a:cubicBezTo>
                <a:cubicBezTo>
                  <a:pt x="55123" y="733529"/>
                  <a:pt x="56356" y="735806"/>
                  <a:pt x="57150" y="738187"/>
                </a:cubicBezTo>
                <a:cubicBezTo>
                  <a:pt x="57944" y="744537"/>
                  <a:pt x="58479" y="750925"/>
                  <a:pt x="59531" y="757237"/>
                </a:cubicBezTo>
                <a:cubicBezTo>
                  <a:pt x="60069" y="760465"/>
                  <a:pt x="61270" y="763553"/>
                  <a:pt x="61912" y="766762"/>
                </a:cubicBezTo>
                <a:cubicBezTo>
                  <a:pt x="62859" y="771497"/>
                  <a:pt x="63346" y="776315"/>
                  <a:pt x="64293" y="781050"/>
                </a:cubicBezTo>
                <a:cubicBezTo>
                  <a:pt x="64935" y="784259"/>
                  <a:pt x="66533" y="787305"/>
                  <a:pt x="66675" y="790575"/>
                </a:cubicBezTo>
                <a:cubicBezTo>
                  <a:pt x="67330" y="805642"/>
                  <a:pt x="66675" y="820738"/>
                  <a:pt x="66675" y="835819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7F73D111-57BC-48EF-829B-2273C812B457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 rot="5400000" flipV="1">
            <a:off x="4636218" y="2163414"/>
            <a:ext cx="0" cy="441873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85A8D799-C5CA-4CE2-B9DE-54EE337DC24A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4419148" y="2283708"/>
            <a:ext cx="250260" cy="502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85BCEC96-2025-4019-8498-680C512A6A9A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 rot="16200000" flipH="1" flipV="1">
            <a:off x="4127130" y="2163414"/>
            <a:ext cx="0" cy="441873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40F61403-D415-422C-AEC4-41EFB897CD14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 flipH="1">
            <a:off x="4093314" y="2283708"/>
            <a:ext cx="250260" cy="502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sp>
        <p:nvSpPr>
          <p:cNvPr id="156" name="Rectangle 155">
            <a:extLst>
              <a:ext uri="{FF2B5EF4-FFF2-40B4-BE49-F238E27FC236}">
                <a16:creationId xmlns:a16="http://schemas.microsoft.com/office/drawing/2014/main" id="{2967759E-75C3-4390-8486-4F2DE3A11A3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530408" y="3901243"/>
            <a:ext cx="1368152" cy="687296"/>
          </a:xfrm>
          <a:prstGeom prst="rect">
            <a:avLst/>
          </a:prstGeom>
          <a:blipFill>
            <a:blip r:embed="rId72">
              <a:duotone>
                <a:prstClr val="black"/>
                <a:srgbClr val="EAEAEA">
                  <a:tint val="45000"/>
                  <a:satMod val="400000"/>
                </a:srgbClr>
              </a:duotone>
            </a:blip>
            <a:tile tx="0" ty="0" sx="100000" sy="100000" flip="none" algn="tl"/>
          </a:blip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7" name="Freeform 100">
            <a:extLst>
              <a:ext uri="{FF2B5EF4-FFF2-40B4-BE49-F238E27FC236}">
                <a16:creationId xmlns:a16="http://schemas.microsoft.com/office/drawing/2014/main" id="{83F6A148-1D7C-4AB6-AD52-D1985494756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2159430" y="3908515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8" name="Freeform 101">
            <a:extLst>
              <a:ext uri="{FF2B5EF4-FFF2-40B4-BE49-F238E27FC236}">
                <a16:creationId xmlns:a16="http://schemas.microsoft.com/office/drawing/2014/main" id="{51E8612E-7041-4C85-A74D-DDB2653F86EE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249074" y="3906970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9" name="Freeform 102">
            <a:extLst>
              <a:ext uri="{FF2B5EF4-FFF2-40B4-BE49-F238E27FC236}">
                <a16:creationId xmlns:a16="http://schemas.microsoft.com/office/drawing/2014/main" id="{7702BB91-F366-4D14-9FF2-02B6C2EE2FC0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2159430" y="4338134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0" name="Freeform 103">
            <a:extLst>
              <a:ext uri="{FF2B5EF4-FFF2-40B4-BE49-F238E27FC236}">
                <a16:creationId xmlns:a16="http://schemas.microsoft.com/office/drawing/2014/main" id="{9121D504-9812-4632-9C61-B7E2A07B085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2249074" y="4336589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5B17C2D8-8DDF-4F9D-805B-1003C10E881E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705027" y="3899378"/>
            <a:ext cx="1368152" cy="687296"/>
          </a:xfrm>
          <a:prstGeom prst="rect">
            <a:avLst/>
          </a:prstGeom>
          <a:blipFill>
            <a:blip r:embed="rId72">
              <a:duotone>
                <a:prstClr val="black"/>
                <a:srgbClr val="EAEAEA">
                  <a:tint val="45000"/>
                  <a:satMod val="400000"/>
                </a:srgbClr>
              </a:duotone>
            </a:blip>
            <a:tile tx="0" ty="0" sx="100000" sy="100000" flip="none" algn="tl"/>
          </a:blip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Freeform 105">
            <a:extLst>
              <a:ext uri="{FF2B5EF4-FFF2-40B4-BE49-F238E27FC236}">
                <a16:creationId xmlns:a16="http://schemas.microsoft.com/office/drawing/2014/main" id="{4A6F805A-021B-4CEC-B4E8-4DD1AA984624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4334049" y="4341032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Freeform 106">
            <a:extLst>
              <a:ext uri="{FF2B5EF4-FFF2-40B4-BE49-F238E27FC236}">
                <a16:creationId xmlns:a16="http://schemas.microsoft.com/office/drawing/2014/main" id="{AF27C170-5CF2-4C90-99C4-28C9A3E1FE2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4423693" y="4339487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Freeform 107">
            <a:extLst>
              <a:ext uri="{FF2B5EF4-FFF2-40B4-BE49-F238E27FC236}">
                <a16:creationId xmlns:a16="http://schemas.microsoft.com/office/drawing/2014/main" id="{315CC885-B9E5-4C71-815F-24E42940D01C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4334049" y="3915497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5" name="Freeform 108">
            <a:extLst>
              <a:ext uri="{FF2B5EF4-FFF2-40B4-BE49-F238E27FC236}">
                <a16:creationId xmlns:a16="http://schemas.microsoft.com/office/drawing/2014/main" id="{5A233512-EA04-4EF2-A92E-84F3DE57F1F1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4423693" y="3913952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12328AF4-578E-4BD2-9889-18AAA5EBE15B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6739308" y="2625051"/>
            <a:ext cx="1368152" cy="864096"/>
          </a:xfrm>
          <a:prstGeom prst="rect">
            <a:avLst/>
          </a:prstGeom>
          <a:blipFill>
            <a:blip r:embed="rId72">
              <a:duotone>
                <a:prstClr val="black"/>
                <a:srgbClr val="EAEAEA">
                  <a:tint val="45000"/>
                  <a:satMod val="400000"/>
                </a:srgbClr>
              </a:duotone>
            </a:blip>
            <a:tile tx="0" ty="0" sx="100000" sy="100000" flip="none" algn="tl"/>
          </a:blip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7" name="PPTShape_0" descr="http://www.hilti.es/data/product/prodoverview/5971.jpg">
            <a:extLst>
              <a:ext uri="{FF2B5EF4-FFF2-40B4-BE49-F238E27FC236}">
                <a16:creationId xmlns:a16="http://schemas.microsoft.com/office/drawing/2014/main" id="{A6258138-ACB7-4A57-857E-55B874AE776C}"/>
              </a:ext>
            </a:extLst>
          </p:cNvPr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73" r:link="rId75"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ackgroundRemoval t="0" b="100000" l="0" r="1000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019742" y="2775836"/>
            <a:ext cx="807285" cy="175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8" name="Freeform 111">
            <a:extLst>
              <a:ext uri="{FF2B5EF4-FFF2-40B4-BE49-F238E27FC236}">
                <a16:creationId xmlns:a16="http://schemas.microsoft.com/office/drawing/2014/main" id="{A57FD8B0-4612-4359-B20A-3EB8FD2082C6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7445125" y="3268187"/>
            <a:ext cx="41275" cy="193675"/>
          </a:xfrm>
          <a:custGeom>
            <a:avLst/>
            <a:gdLst>
              <a:gd name="connsiteX0" fmla="*/ 0 w 41275"/>
              <a:gd name="connsiteY0" fmla="*/ 0 h 193675"/>
              <a:gd name="connsiteX1" fmla="*/ 6350 w 41275"/>
              <a:gd name="connsiteY1" fmla="*/ 25400 h 193675"/>
              <a:gd name="connsiteX2" fmla="*/ 12700 w 41275"/>
              <a:gd name="connsiteY2" fmla="*/ 34925 h 193675"/>
              <a:gd name="connsiteX3" fmla="*/ 15875 w 41275"/>
              <a:gd name="connsiteY3" fmla="*/ 47625 h 193675"/>
              <a:gd name="connsiteX4" fmla="*/ 22225 w 41275"/>
              <a:gd name="connsiteY4" fmla="*/ 66675 h 193675"/>
              <a:gd name="connsiteX5" fmla="*/ 28575 w 41275"/>
              <a:gd name="connsiteY5" fmla="*/ 85725 h 193675"/>
              <a:gd name="connsiteX6" fmla="*/ 41275 w 41275"/>
              <a:gd name="connsiteY6" fmla="*/ 120650 h 193675"/>
              <a:gd name="connsiteX7" fmla="*/ 38100 w 41275"/>
              <a:gd name="connsiteY7" fmla="*/ 168275 h 193675"/>
              <a:gd name="connsiteX8" fmla="*/ 41275 w 41275"/>
              <a:gd name="connsiteY8" fmla="*/ 193675 h 19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275" h="193675">
                <a:moveTo>
                  <a:pt x="0" y="0"/>
                </a:moveTo>
                <a:cubicBezTo>
                  <a:pt x="1208" y="6038"/>
                  <a:pt x="3096" y="18891"/>
                  <a:pt x="6350" y="25400"/>
                </a:cubicBezTo>
                <a:cubicBezTo>
                  <a:pt x="8057" y="28813"/>
                  <a:pt x="10583" y="31750"/>
                  <a:pt x="12700" y="34925"/>
                </a:cubicBezTo>
                <a:cubicBezTo>
                  <a:pt x="13758" y="39158"/>
                  <a:pt x="14621" y="43445"/>
                  <a:pt x="15875" y="47625"/>
                </a:cubicBezTo>
                <a:cubicBezTo>
                  <a:pt x="17798" y="54036"/>
                  <a:pt x="20108" y="60325"/>
                  <a:pt x="22225" y="66675"/>
                </a:cubicBezTo>
                <a:lnTo>
                  <a:pt x="28575" y="85725"/>
                </a:lnTo>
                <a:cubicBezTo>
                  <a:pt x="40701" y="122102"/>
                  <a:pt x="27963" y="100682"/>
                  <a:pt x="41275" y="120650"/>
                </a:cubicBezTo>
                <a:cubicBezTo>
                  <a:pt x="40217" y="136525"/>
                  <a:pt x="38100" y="152365"/>
                  <a:pt x="38100" y="168275"/>
                </a:cubicBezTo>
                <a:cubicBezTo>
                  <a:pt x="38100" y="176808"/>
                  <a:pt x="41275" y="185142"/>
                  <a:pt x="41275" y="193675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9" name="Freeform 112">
            <a:extLst>
              <a:ext uri="{FF2B5EF4-FFF2-40B4-BE49-F238E27FC236}">
                <a16:creationId xmlns:a16="http://schemas.microsoft.com/office/drawing/2014/main" id="{AAD4F72B-D4DC-4C67-948B-C48A50687207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7334422" y="2630806"/>
            <a:ext cx="66966" cy="835819"/>
          </a:xfrm>
          <a:custGeom>
            <a:avLst/>
            <a:gdLst>
              <a:gd name="connsiteX0" fmla="*/ 28575 w 66966"/>
              <a:gd name="connsiteY0" fmla="*/ 0 h 835819"/>
              <a:gd name="connsiteX1" fmla="*/ 26193 w 66966"/>
              <a:gd name="connsiteY1" fmla="*/ 11906 h 835819"/>
              <a:gd name="connsiteX2" fmla="*/ 21431 w 66966"/>
              <a:gd name="connsiteY2" fmla="*/ 26194 h 835819"/>
              <a:gd name="connsiteX3" fmla="*/ 19050 w 66966"/>
              <a:gd name="connsiteY3" fmla="*/ 59531 h 835819"/>
              <a:gd name="connsiteX4" fmla="*/ 14287 w 66966"/>
              <a:gd name="connsiteY4" fmla="*/ 76200 h 835819"/>
              <a:gd name="connsiteX5" fmla="*/ 16668 w 66966"/>
              <a:gd name="connsiteY5" fmla="*/ 116681 h 835819"/>
              <a:gd name="connsiteX6" fmla="*/ 23812 w 66966"/>
              <a:gd name="connsiteY6" fmla="*/ 130969 h 835819"/>
              <a:gd name="connsiteX7" fmla="*/ 26193 w 66966"/>
              <a:gd name="connsiteY7" fmla="*/ 138112 h 835819"/>
              <a:gd name="connsiteX8" fmla="*/ 23812 w 66966"/>
              <a:gd name="connsiteY8" fmla="*/ 176212 h 835819"/>
              <a:gd name="connsiteX9" fmla="*/ 19050 w 66966"/>
              <a:gd name="connsiteY9" fmla="*/ 190500 h 835819"/>
              <a:gd name="connsiteX10" fmla="*/ 14287 w 66966"/>
              <a:gd name="connsiteY10" fmla="*/ 209550 h 835819"/>
              <a:gd name="connsiteX11" fmla="*/ 16668 w 66966"/>
              <a:gd name="connsiteY11" fmla="*/ 233362 h 835819"/>
              <a:gd name="connsiteX12" fmla="*/ 23812 w 66966"/>
              <a:gd name="connsiteY12" fmla="*/ 247650 h 835819"/>
              <a:gd name="connsiteX13" fmla="*/ 28575 w 66966"/>
              <a:gd name="connsiteY13" fmla="*/ 264319 h 835819"/>
              <a:gd name="connsiteX14" fmla="*/ 30956 w 66966"/>
              <a:gd name="connsiteY14" fmla="*/ 271462 h 835819"/>
              <a:gd name="connsiteX15" fmla="*/ 23812 w 66966"/>
              <a:gd name="connsiteY15" fmla="*/ 295275 h 835819"/>
              <a:gd name="connsiteX16" fmla="*/ 21431 w 66966"/>
              <a:gd name="connsiteY16" fmla="*/ 311944 h 835819"/>
              <a:gd name="connsiteX17" fmla="*/ 14287 w 66966"/>
              <a:gd name="connsiteY17" fmla="*/ 319087 h 835819"/>
              <a:gd name="connsiteX18" fmla="*/ 19050 w 66966"/>
              <a:gd name="connsiteY18" fmla="*/ 342900 h 835819"/>
              <a:gd name="connsiteX19" fmla="*/ 23812 w 66966"/>
              <a:gd name="connsiteY19" fmla="*/ 361950 h 835819"/>
              <a:gd name="connsiteX20" fmla="*/ 19050 w 66966"/>
              <a:gd name="connsiteY20" fmla="*/ 419100 h 835819"/>
              <a:gd name="connsiteX21" fmla="*/ 16668 w 66966"/>
              <a:gd name="connsiteY21" fmla="*/ 431006 h 835819"/>
              <a:gd name="connsiteX22" fmla="*/ 14287 w 66966"/>
              <a:gd name="connsiteY22" fmla="*/ 452437 h 835819"/>
              <a:gd name="connsiteX23" fmla="*/ 16668 w 66966"/>
              <a:gd name="connsiteY23" fmla="*/ 495300 h 835819"/>
              <a:gd name="connsiteX24" fmla="*/ 21431 w 66966"/>
              <a:gd name="connsiteY24" fmla="*/ 511969 h 835819"/>
              <a:gd name="connsiteX25" fmla="*/ 11906 w 66966"/>
              <a:gd name="connsiteY25" fmla="*/ 523875 h 835819"/>
              <a:gd name="connsiteX26" fmla="*/ 7143 w 66966"/>
              <a:gd name="connsiteY26" fmla="*/ 533400 h 835819"/>
              <a:gd name="connsiteX27" fmla="*/ 0 w 66966"/>
              <a:gd name="connsiteY27" fmla="*/ 547687 h 835819"/>
              <a:gd name="connsiteX28" fmla="*/ 2381 w 66966"/>
              <a:gd name="connsiteY28" fmla="*/ 554831 h 835819"/>
              <a:gd name="connsiteX29" fmla="*/ 11906 w 66966"/>
              <a:gd name="connsiteY29" fmla="*/ 569119 h 835819"/>
              <a:gd name="connsiteX30" fmla="*/ 16668 w 66966"/>
              <a:gd name="connsiteY30" fmla="*/ 583406 h 835819"/>
              <a:gd name="connsiteX31" fmla="*/ 19050 w 66966"/>
              <a:gd name="connsiteY31" fmla="*/ 590550 h 835819"/>
              <a:gd name="connsiteX32" fmla="*/ 21431 w 66966"/>
              <a:gd name="connsiteY32" fmla="*/ 647700 h 835819"/>
              <a:gd name="connsiteX33" fmla="*/ 28575 w 66966"/>
              <a:gd name="connsiteY33" fmla="*/ 652462 h 835819"/>
              <a:gd name="connsiteX34" fmla="*/ 30956 w 66966"/>
              <a:gd name="connsiteY34" fmla="*/ 661987 h 835819"/>
              <a:gd name="connsiteX35" fmla="*/ 45243 w 66966"/>
              <a:gd name="connsiteY35" fmla="*/ 690562 h 835819"/>
              <a:gd name="connsiteX36" fmla="*/ 50006 w 66966"/>
              <a:gd name="connsiteY36" fmla="*/ 697706 h 835819"/>
              <a:gd name="connsiteX37" fmla="*/ 54768 w 66966"/>
              <a:gd name="connsiteY37" fmla="*/ 731044 h 835819"/>
              <a:gd name="connsiteX38" fmla="*/ 57150 w 66966"/>
              <a:gd name="connsiteY38" fmla="*/ 738187 h 835819"/>
              <a:gd name="connsiteX39" fmla="*/ 59531 w 66966"/>
              <a:gd name="connsiteY39" fmla="*/ 757237 h 835819"/>
              <a:gd name="connsiteX40" fmla="*/ 61912 w 66966"/>
              <a:gd name="connsiteY40" fmla="*/ 766762 h 835819"/>
              <a:gd name="connsiteX41" fmla="*/ 64293 w 66966"/>
              <a:gd name="connsiteY41" fmla="*/ 781050 h 835819"/>
              <a:gd name="connsiteX42" fmla="*/ 66675 w 66966"/>
              <a:gd name="connsiteY42" fmla="*/ 790575 h 835819"/>
              <a:gd name="connsiteX43" fmla="*/ 66675 w 66966"/>
              <a:gd name="connsiteY43" fmla="*/ 835819 h 835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66966" h="835819">
                <a:moveTo>
                  <a:pt x="28575" y="0"/>
                </a:moveTo>
                <a:cubicBezTo>
                  <a:pt x="27781" y="3969"/>
                  <a:pt x="27258" y="8001"/>
                  <a:pt x="26193" y="11906"/>
                </a:cubicBezTo>
                <a:cubicBezTo>
                  <a:pt x="24872" y="16749"/>
                  <a:pt x="21431" y="26194"/>
                  <a:pt x="21431" y="26194"/>
                </a:cubicBezTo>
                <a:cubicBezTo>
                  <a:pt x="20637" y="37306"/>
                  <a:pt x="20280" y="48459"/>
                  <a:pt x="19050" y="59531"/>
                </a:cubicBezTo>
                <a:cubicBezTo>
                  <a:pt x="18552" y="64010"/>
                  <a:pt x="15791" y="71689"/>
                  <a:pt x="14287" y="76200"/>
                </a:cubicBezTo>
                <a:cubicBezTo>
                  <a:pt x="15081" y="89694"/>
                  <a:pt x="15323" y="103231"/>
                  <a:pt x="16668" y="116681"/>
                </a:cubicBezTo>
                <a:cubicBezTo>
                  <a:pt x="17416" y="124160"/>
                  <a:pt x="20553" y="124450"/>
                  <a:pt x="23812" y="130969"/>
                </a:cubicBezTo>
                <a:cubicBezTo>
                  <a:pt x="24934" y="133214"/>
                  <a:pt x="25399" y="135731"/>
                  <a:pt x="26193" y="138112"/>
                </a:cubicBezTo>
                <a:cubicBezTo>
                  <a:pt x="25399" y="150812"/>
                  <a:pt x="25531" y="163604"/>
                  <a:pt x="23812" y="176212"/>
                </a:cubicBezTo>
                <a:cubicBezTo>
                  <a:pt x="23134" y="181186"/>
                  <a:pt x="20035" y="185577"/>
                  <a:pt x="19050" y="190500"/>
                </a:cubicBezTo>
                <a:cubicBezTo>
                  <a:pt x="16176" y="204867"/>
                  <a:pt x="17948" y="198566"/>
                  <a:pt x="14287" y="209550"/>
                </a:cubicBezTo>
                <a:cubicBezTo>
                  <a:pt x="15081" y="217487"/>
                  <a:pt x="15455" y="225478"/>
                  <a:pt x="16668" y="233362"/>
                </a:cubicBezTo>
                <a:cubicBezTo>
                  <a:pt x="17998" y="242005"/>
                  <a:pt x="19889" y="239804"/>
                  <a:pt x="23812" y="247650"/>
                </a:cubicBezTo>
                <a:cubicBezTo>
                  <a:pt x="25713" y="251453"/>
                  <a:pt x="27559" y="260764"/>
                  <a:pt x="28575" y="264319"/>
                </a:cubicBezTo>
                <a:cubicBezTo>
                  <a:pt x="29265" y="266732"/>
                  <a:pt x="30162" y="269081"/>
                  <a:pt x="30956" y="271462"/>
                </a:cubicBezTo>
                <a:cubicBezTo>
                  <a:pt x="28469" y="278921"/>
                  <a:pt x="25252" y="287355"/>
                  <a:pt x="23812" y="295275"/>
                </a:cubicBezTo>
                <a:cubicBezTo>
                  <a:pt x="22808" y="300797"/>
                  <a:pt x="23516" y="306733"/>
                  <a:pt x="21431" y="311944"/>
                </a:cubicBezTo>
                <a:cubicBezTo>
                  <a:pt x="20180" y="315071"/>
                  <a:pt x="16668" y="316706"/>
                  <a:pt x="14287" y="319087"/>
                </a:cubicBezTo>
                <a:cubicBezTo>
                  <a:pt x="20122" y="359933"/>
                  <a:pt x="13507" y="320730"/>
                  <a:pt x="19050" y="342900"/>
                </a:cubicBezTo>
                <a:cubicBezTo>
                  <a:pt x="24801" y="365903"/>
                  <a:pt x="18366" y="345611"/>
                  <a:pt x="23812" y="361950"/>
                </a:cubicBezTo>
                <a:cubicBezTo>
                  <a:pt x="22489" y="381800"/>
                  <a:pt x="21823" y="399688"/>
                  <a:pt x="19050" y="419100"/>
                </a:cubicBezTo>
                <a:cubicBezTo>
                  <a:pt x="18478" y="423107"/>
                  <a:pt x="17240" y="426999"/>
                  <a:pt x="16668" y="431006"/>
                </a:cubicBezTo>
                <a:cubicBezTo>
                  <a:pt x="15651" y="438121"/>
                  <a:pt x="15081" y="445293"/>
                  <a:pt x="14287" y="452437"/>
                </a:cubicBezTo>
                <a:cubicBezTo>
                  <a:pt x="15081" y="466725"/>
                  <a:pt x="15372" y="481049"/>
                  <a:pt x="16668" y="495300"/>
                </a:cubicBezTo>
                <a:cubicBezTo>
                  <a:pt x="17041" y="499406"/>
                  <a:pt x="20023" y="507744"/>
                  <a:pt x="21431" y="511969"/>
                </a:cubicBezTo>
                <a:cubicBezTo>
                  <a:pt x="15473" y="535805"/>
                  <a:pt x="24432" y="511350"/>
                  <a:pt x="11906" y="523875"/>
                </a:cubicBezTo>
                <a:cubicBezTo>
                  <a:pt x="9396" y="526385"/>
                  <a:pt x="8904" y="530318"/>
                  <a:pt x="7143" y="533400"/>
                </a:cubicBezTo>
                <a:cubicBezTo>
                  <a:pt x="-241" y="546322"/>
                  <a:pt x="4365" y="534593"/>
                  <a:pt x="0" y="547687"/>
                </a:cubicBezTo>
                <a:cubicBezTo>
                  <a:pt x="794" y="550068"/>
                  <a:pt x="1162" y="552637"/>
                  <a:pt x="2381" y="554831"/>
                </a:cubicBezTo>
                <a:cubicBezTo>
                  <a:pt x="5161" y="559835"/>
                  <a:pt x="11906" y="569119"/>
                  <a:pt x="11906" y="569119"/>
                </a:cubicBezTo>
                <a:lnTo>
                  <a:pt x="16668" y="583406"/>
                </a:lnTo>
                <a:lnTo>
                  <a:pt x="19050" y="590550"/>
                </a:lnTo>
                <a:cubicBezTo>
                  <a:pt x="19844" y="609600"/>
                  <a:pt x="18532" y="628855"/>
                  <a:pt x="21431" y="647700"/>
                </a:cubicBezTo>
                <a:cubicBezTo>
                  <a:pt x="21866" y="650529"/>
                  <a:pt x="26987" y="650081"/>
                  <a:pt x="28575" y="652462"/>
                </a:cubicBezTo>
                <a:cubicBezTo>
                  <a:pt x="30390" y="655185"/>
                  <a:pt x="30016" y="658852"/>
                  <a:pt x="30956" y="661987"/>
                </a:cubicBezTo>
                <a:cubicBezTo>
                  <a:pt x="36333" y="679913"/>
                  <a:pt x="34295" y="674141"/>
                  <a:pt x="45243" y="690562"/>
                </a:cubicBezTo>
                <a:lnTo>
                  <a:pt x="50006" y="697706"/>
                </a:lnTo>
                <a:cubicBezTo>
                  <a:pt x="55906" y="715410"/>
                  <a:pt x="49549" y="694518"/>
                  <a:pt x="54768" y="731044"/>
                </a:cubicBezTo>
                <a:cubicBezTo>
                  <a:pt x="55123" y="733529"/>
                  <a:pt x="56356" y="735806"/>
                  <a:pt x="57150" y="738187"/>
                </a:cubicBezTo>
                <a:cubicBezTo>
                  <a:pt x="57944" y="744537"/>
                  <a:pt x="58479" y="750925"/>
                  <a:pt x="59531" y="757237"/>
                </a:cubicBezTo>
                <a:cubicBezTo>
                  <a:pt x="60069" y="760465"/>
                  <a:pt x="61270" y="763553"/>
                  <a:pt x="61912" y="766762"/>
                </a:cubicBezTo>
                <a:cubicBezTo>
                  <a:pt x="62859" y="771497"/>
                  <a:pt x="63346" y="776315"/>
                  <a:pt x="64293" y="781050"/>
                </a:cubicBezTo>
                <a:cubicBezTo>
                  <a:pt x="64935" y="784259"/>
                  <a:pt x="66533" y="787305"/>
                  <a:pt x="66675" y="790575"/>
                </a:cubicBezTo>
                <a:cubicBezTo>
                  <a:pt x="67330" y="805642"/>
                  <a:pt x="66675" y="820738"/>
                  <a:pt x="66675" y="835819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0" name="Rectangle 169">
            <a:hlinkClick r:id="" action="ppaction://noaction"/>
            <a:extLst>
              <a:ext uri="{FF2B5EF4-FFF2-40B4-BE49-F238E27FC236}">
                <a16:creationId xmlns:a16="http://schemas.microsoft.com/office/drawing/2014/main" id="{B54E893F-2BF2-4C6A-AA5C-A3BB69C6212A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6739308" y="3891718"/>
            <a:ext cx="1368152" cy="687296"/>
          </a:xfrm>
          <a:prstGeom prst="rect">
            <a:avLst/>
          </a:prstGeom>
          <a:blipFill>
            <a:blip r:embed="rId72">
              <a:duotone>
                <a:prstClr val="black"/>
                <a:srgbClr val="EAEAEA">
                  <a:tint val="45000"/>
                  <a:satMod val="400000"/>
                </a:srgbClr>
              </a:duotone>
            </a:blip>
            <a:tile tx="0" ty="0" sx="100000" sy="100000" flip="none" algn="tl"/>
          </a:blip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1" name="Freeform 114">
            <a:extLst>
              <a:ext uri="{FF2B5EF4-FFF2-40B4-BE49-F238E27FC236}">
                <a16:creationId xmlns:a16="http://schemas.microsoft.com/office/drawing/2014/main" id="{ABCFE38A-00C5-4DED-86BD-42302BD63BF3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7368330" y="3908514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2" name="Freeform 115">
            <a:extLst>
              <a:ext uri="{FF2B5EF4-FFF2-40B4-BE49-F238E27FC236}">
                <a16:creationId xmlns:a16="http://schemas.microsoft.com/office/drawing/2014/main" id="{6B9D456A-7728-4B48-B705-7351C5E6BCD2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7457974" y="3906969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Freeform 116">
            <a:extLst>
              <a:ext uri="{FF2B5EF4-FFF2-40B4-BE49-F238E27FC236}">
                <a16:creationId xmlns:a16="http://schemas.microsoft.com/office/drawing/2014/main" id="{8A3DD66E-ED57-4E9D-9068-8B8F66955789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7368330" y="4328611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Freeform 117">
            <a:extLst>
              <a:ext uri="{FF2B5EF4-FFF2-40B4-BE49-F238E27FC236}">
                <a16:creationId xmlns:a16="http://schemas.microsoft.com/office/drawing/2014/main" id="{7A933108-ED68-4B38-8275-CA837A6D70A0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7457974" y="4327066"/>
            <a:ext cx="19050" cy="246222"/>
          </a:xfrm>
          <a:custGeom>
            <a:avLst/>
            <a:gdLst>
              <a:gd name="connsiteX0" fmla="*/ 4763 w 19050"/>
              <a:gd name="connsiteY0" fmla="*/ 0 h 223838"/>
              <a:gd name="connsiteX1" fmla="*/ 9525 w 19050"/>
              <a:gd name="connsiteY1" fmla="*/ 23813 h 223838"/>
              <a:gd name="connsiteX2" fmla="*/ 14288 w 19050"/>
              <a:gd name="connsiteY2" fmla="*/ 38100 h 223838"/>
              <a:gd name="connsiteX3" fmla="*/ 9525 w 19050"/>
              <a:gd name="connsiteY3" fmla="*/ 76200 h 223838"/>
              <a:gd name="connsiteX4" fmla="*/ 0 w 19050"/>
              <a:gd name="connsiteY4" fmla="*/ 104775 h 223838"/>
              <a:gd name="connsiteX5" fmla="*/ 14288 w 19050"/>
              <a:gd name="connsiteY5" fmla="*/ 171450 h 223838"/>
              <a:gd name="connsiteX6" fmla="*/ 19050 w 19050"/>
              <a:gd name="connsiteY6" fmla="*/ 185738 h 223838"/>
              <a:gd name="connsiteX7" fmla="*/ 9525 w 19050"/>
              <a:gd name="connsiteY7" fmla="*/ 223838 h 22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50" h="223838">
                <a:moveTo>
                  <a:pt x="4763" y="0"/>
                </a:moveTo>
                <a:cubicBezTo>
                  <a:pt x="6350" y="7938"/>
                  <a:pt x="7562" y="15960"/>
                  <a:pt x="9525" y="23813"/>
                </a:cubicBezTo>
                <a:cubicBezTo>
                  <a:pt x="10743" y="28683"/>
                  <a:pt x="14288" y="33080"/>
                  <a:pt x="14288" y="38100"/>
                </a:cubicBezTo>
                <a:cubicBezTo>
                  <a:pt x="14288" y="50899"/>
                  <a:pt x="12207" y="63685"/>
                  <a:pt x="9525" y="76200"/>
                </a:cubicBezTo>
                <a:cubicBezTo>
                  <a:pt x="7421" y="86017"/>
                  <a:pt x="0" y="104775"/>
                  <a:pt x="0" y="104775"/>
                </a:cubicBezTo>
                <a:cubicBezTo>
                  <a:pt x="6009" y="152842"/>
                  <a:pt x="715" y="130730"/>
                  <a:pt x="14288" y="171450"/>
                </a:cubicBezTo>
                <a:lnTo>
                  <a:pt x="19050" y="185738"/>
                </a:lnTo>
                <a:cubicBezTo>
                  <a:pt x="8521" y="217325"/>
                  <a:pt x="9525" y="204273"/>
                  <a:pt x="9525" y="223838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96F2BA47-5759-48DB-824A-882E913317D0}"/>
              </a:ext>
            </a:extLst>
          </p:cNvPr>
          <p:cNvCxnSpPr/>
          <p:nvPr>
            <p:custDataLst>
              <p:tags r:id="rId38"/>
            </p:custDataLst>
          </p:nvPr>
        </p:nvCxnSpPr>
        <p:spPr>
          <a:xfrm rot="5400000" flipV="1">
            <a:off x="7678911" y="3605551"/>
            <a:ext cx="0" cy="441873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73BE8A03-0E0B-4753-B518-46806AC49363}"/>
              </a:ext>
            </a:extLst>
          </p:cNvPr>
          <p:cNvCxnSpPr/>
          <p:nvPr>
            <p:custDataLst>
              <p:tags r:id="rId39"/>
            </p:custDataLst>
          </p:nvPr>
        </p:nvCxnSpPr>
        <p:spPr>
          <a:xfrm>
            <a:off x="7461841" y="3737845"/>
            <a:ext cx="250260" cy="502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FA096C98-72E6-4062-98DB-2C88C704C52A}"/>
              </a:ext>
            </a:extLst>
          </p:cNvPr>
          <p:cNvCxnSpPr/>
          <p:nvPr>
            <p:custDataLst>
              <p:tags r:id="rId40"/>
            </p:custDataLst>
          </p:nvPr>
        </p:nvCxnSpPr>
        <p:spPr>
          <a:xfrm rot="16200000" flipH="1" flipV="1">
            <a:off x="7169823" y="3605551"/>
            <a:ext cx="0" cy="441873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C8504CD8-1906-46FD-892D-6338970BED41}"/>
              </a:ext>
            </a:extLst>
          </p:cNvPr>
          <p:cNvCxnSpPr/>
          <p:nvPr>
            <p:custDataLst>
              <p:tags r:id="rId41"/>
            </p:custDataLst>
          </p:nvPr>
        </p:nvCxnSpPr>
        <p:spPr>
          <a:xfrm flipH="1">
            <a:off x="7136007" y="3737845"/>
            <a:ext cx="250260" cy="502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E6FA95E0-1AED-4411-BC7B-EF2F6324BA82}"/>
              </a:ext>
            </a:extLst>
          </p:cNvPr>
          <p:cNvCxnSpPr>
            <a:cxnSpLocks/>
            <a:stCxn id="158" idx="4"/>
            <a:endCxn id="180" idx="1"/>
          </p:cNvCxnSpPr>
          <p:nvPr>
            <p:custDataLst>
              <p:tags r:id="rId42"/>
            </p:custDataLst>
          </p:nvPr>
        </p:nvCxnSpPr>
        <p:spPr>
          <a:xfrm flipV="1">
            <a:off x="2249074" y="3667157"/>
            <a:ext cx="499430" cy="355066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80" name="TextBox 179">
            <a:extLst>
              <a:ext uri="{FF2B5EF4-FFF2-40B4-BE49-F238E27FC236}">
                <a16:creationId xmlns:a16="http://schemas.microsoft.com/office/drawing/2014/main" id="{A76ABDC6-BDBC-479D-8062-E477AAA904C4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2748504" y="3528657"/>
            <a:ext cx="10021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ymbol" pitchFamily="18" charset="2"/>
              </a:rPr>
              <a:t>D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=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.8mm</a:t>
            </a:r>
          </a:p>
        </p:txBody>
      </p: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0180EFD7-B76E-4B4B-B9A9-2BDE7AB0CCD9}"/>
              </a:ext>
            </a:extLst>
          </p:cNvPr>
          <p:cNvCxnSpPr>
            <a:cxnSpLocks/>
            <a:endCxn id="164" idx="4"/>
          </p:cNvCxnSpPr>
          <p:nvPr>
            <p:custDataLst>
              <p:tags r:id="rId44"/>
            </p:custDataLst>
          </p:nvPr>
        </p:nvCxnSpPr>
        <p:spPr>
          <a:xfrm>
            <a:off x="3906193" y="3682546"/>
            <a:ext cx="427856" cy="348204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9FFF0F79-2011-48E0-BB0B-6485D585F64B}"/>
              </a:ext>
            </a:extLst>
          </p:cNvPr>
          <p:cNvCxnSpPr>
            <a:cxnSpLocks/>
            <a:stCxn id="173" idx="3"/>
            <a:endCxn id="183" idx="3"/>
          </p:cNvCxnSpPr>
          <p:nvPr>
            <p:custDataLst>
              <p:tags r:id="rId45"/>
            </p:custDataLst>
          </p:nvPr>
        </p:nvCxnSpPr>
        <p:spPr>
          <a:xfrm flipH="1">
            <a:off x="6708623" y="4412431"/>
            <a:ext cx="669232" cy="16760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73296311-68C2-46D0-AF6D-E7815FA201F1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5396808" y="4441539"/>
            <a:ext cx="1311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ymbol" pitchFamily="18" charset="2"/>
              </a:rPr>
              <a:t>D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= 0 – 0.8mm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B8FD2B69-9EE2-4136-8DF7-D1EFFD6BC44C}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479425" y="1592262"/>
            <a:ext cx="590360" cy="528924"/>
          </a:xfrm>
          <a:prstGeom prst="rect">
            <a:avLst/>
          </a:prstGeom>
          <a:solidFill>
            <a:srgbClr val="C00000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2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47D751A8-0FA8-4A6C-8B40-2008337287FE}"/>
              </a:ext>
            </a:extLst>
          </p:cNvPr>
          <p:cNvGrpSpPr/>
          <p:nvPr>
            <p:custDataLst>
              <p:tags r:id="rId48"/>
            </p:custDataLst>
          </p:nvPr>
        </p:nvGrpSpPr>
        <p:grpSpPr>
          <a:xfrm>
            <a:off x="7331434" y="4146250"/>
            <a:ext cx="182880" cy="178231"/>
            <a:chOff x="2259992" y="5234332"/>
            <a:chExt cx="182880" cy="178231"/>
          </a:xfrm>
        </p:grpSpPr>
        <p:pic>
          <p:nvPicPr>
            <p:cNvPr id="186" name="Picture 4" descr="http://ecx.images-amazon.com/images/I/21gbnPMvyEL._SL500_AA300_PIcountsize-100,TopRight,0,0_AA300_SH20_.jpg">
              <a:hlinkClick r:id="rId76"/>
              <a:extLst>
                <a:ext uri="{FF2B5EF4-FFF2-40B4-BE49-F238E27FC236}">
                  <a16:creationId xmlns:a16="http://schemas.microsoft.com/office/drawing/2014/main" id="{4AF0D5A8-E1A0-4211-A199-8CA3B62065B6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68"/>
              </p:custDataLst>
            </p:nvPr>
          </p:nvPicPr>
          <p:blipFill rotWithShape="1">
            <a:blip r:embed="rId77" cstate="print">
              <a:extLst>
                <a:ext uri="{BEBA8EAE-BF5A-486C-A8C5-ECC9F3942E4B}">
                  <a14:imgProps xmlns:a14="http://schemas.microsoft.com/office/drawing/2010/main">
                    <a14:imgLayer r:embed="rId78">
                      <a14:imgEffect>
                        <a14:backgroundRemoval t="19000" b="78000" l="15667" r="796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72" t="22680" r="22983" b="24747"/>
            <a:stretch/>
          </p:blipFill>
          <p:spPr bwMode="auto">
            <a:xfrm>
              <a:off x="2259992" y="5234332"/>
              <a:ext cx="182880" cy="178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E17F6E07-CA67-4D47-90B7-E9686F9DBF81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>
            <a:xfrm>
              <a:off x="2313047" y="5285062"/>
              <a:ext cx="72008" cy="72008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75000"/>
                    <a:shade val="30000"/>
                    <a:satMod val="115000"/>
                  </a:srgbClr>
                </a:gs>
                <a:gs pos="50000">
                  <a:srgbClr val="FFFFFF">
                    <a:lumMod val="75000"/>
                    <a:shade val="67500"/>
                    <a:satMod val="115000"/>
                  </a:srgbClr>
                </a:gs>
                <a:gs pos="100000">
                  <a:srgbClr val="FFFFFF">
                    <a:lumMod val="75000"/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127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8" name="Picture 4">
              <a:extLst>
                <a:ext uri="{FF2B5EF4-FFF2-40B4-BE49-F238E27FC236}">
                  <a16:creationId xmlns:a16="http://schemas.microsoft.com/office/drawing/2014/main" id="{DAD008E3-3C98-4353-8554-6A347FB283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9" cstate="print">
              <a:duotone>
                <a:prstClr val="black"/>
                <a:srgbClr val="C0C0C0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80">
                      <a14:imgEffect>
                        <a14:backgroundRemoval t="0" b="99057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0030" y="5257713"/>
              <a:ext cx="142804" cy="127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9" name="TextBox 188">
            <a:extLst>
              <a:ext uri="{FF2B5EF4-FFF2-40B4-BE49-F238E27FC236}">
                <a16:creationId xmlns:a16="http://schemas.microsoft.com/office/drawing/2014/main" id="{E444800E-C2B3-4162-BF93-14EF3792409A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1509448" y="4588539"/>
            <a:ext cx="396612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te: for static approval crack width 0.3mm</a:t>
            </a:r>
          </a:p>
        </p:txBody>
      </p:sp>
      <p:pic>
        <p:nvPicPr>
          <p:cNvPr id="190" name="Picture 33" descr="C:\Users\GRAMAXO\Documents\My Received Files\Picture1.png">
            <a:extLst>
              <a:ext uri="{FF2B5EF4-FFF2-40B4-BE49-F238E27FC236}">
                <a16:creationId xmlns:a16="http://schemas.microsoft.com/office/drawing/2014/main" id="{E0B8AC80-2780-47C5-9DE5-ACDD9672056A}"/>
              </a:ext>
            </a:extLst>
          </p:cNvPr>
          <p:cNvPicPr>
            <a:picLocks noChangeAspect="1" noChangeArrowheads="1"/>
          </p:cNvPicPr>
          <p:nvPr>
            <p:custDataLst>
              <p:tags r:id="rId50"/>
            </p:custDataLst>
          </p:nvPr>
        </p:nvPicPr>
        <p:blipFill rotWithShape="1">
          <a:blip r:embed="rId8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91" b="50000"/>
          <a:stretch/>
        </p:blipFill>
        <p:spPr bwMode="auto">
          <a:xfrm>
            <a:off x="479425" y="2115483"/>
            <a:ext cx="594522" cy="424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1" name="Group 190">
            <a:extLst>
              <a:ext uri="{FF2B5EF4-FFF2-40B4-BE49-F238E27FC236}">
                <a16:creationId xmlns:a16="http://schemas.microsoft.com/office/drawing/2014/main" id="{2FC2AD26-5236-47E4-BB71-3A85309C94CE}"/>
              </a:ext>
            </a:extLst>
          </p:cNvPr>
          <p:cNvGrpSpPr/>
          <p:nvPr>
            <p:custDataLst>
              <p:tags r:id="rId51"/>
            </p:custDataLst>
          </p:nvPr>
        </p:nvGrpSpPr>
        <p:grpSpPr>
          <a:xfrm>
            <a:off x="4294157" y="4148973"/>
            <a:ext cx="182880" cy="178231"/>
            <a:chOff x="2259992" y="5234332"/>
            <a:chExt cx="182880" cy="178231"/>
          </a:xfrm>
        </p:grpSpPr>
        <p:pic>
          <p:nvPicPr>
            <p:cNvPr id="192" name="Picture 4" descr="http://ecx.images-amazon.com/images/I/21gbnPMvyEL._SL500_AA300_PIcountsize-100,TopRight,0,0_AA300_SH20_.jpg">
              <a:hlinkClick r:id="rId76"/>
              <a:extLst>
                <a:ext uri="{FF2B5EF4-FFF2-40B4-BE49-F238E27FC236}">
                  <a16:creationId xmlns:a16="http://schemas.microsoft.com/office/drawing/2014/main" id="{9F68364E-10DF-4075-B8DF-2A3820DFBB09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66"/>
              </p:custDataLst>
            </p:nvPr>
          </p:nvPicPr>
          <p:blipFill rotWithShape="1">
            <a:blip r:embed="rId77" cstate="print">
              <a:extLst>
                <a:ext uri="{BEBA8EAE-BF5A-486C-A8C5-ECC9F3942E4B}">
                  <a14:imgProps xmlns:a14="http://schemas.microsoft.com/office/drawing/2010/main">
                    <a14:imgLayer r:embed="rId78">
                      <a14:imgEffect>
                        <a14:backgroundRemoval t="19000" b="78000" l="15667" r="796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72" t="22680" r="22983" b="24747"/>
            <a:stretch/>
          </p:blipFill>
          <p:spPr bwMode="auto">
            <a:xfrm>
              <a:off x="2259992" y="5234332"/>
              <a:ext cx="182880" cy="178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54B83B1A-81FD-41CC-A38D-B0097ABE9C3E}"/>
                </a:ext>
              </a:extLst>
            </p:cNvPr>
            <p:cNvSpPr/>
            <p:nvPr>
              <p:custDataLst>
                <p:tags r:id="rId67"/>
              </p:custDataLst>
            </p:nvPr>
          </p:nvSpPr>
          <p:spPr>
            <a:xfrm>
              <a:off x="2313047" y="5285062"/>
              <a:ext cx="72008" cy="72008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75000"/>
                    <a:shade val="30000"/>
                    <a:satMod val="115000"/>
                  </a:srgbClr>
                </a:gs>
                <a:gs pos="50000">
                  <a:srgbClr val="FFFFFF">
                    <a:lumMod val="75000"/>
                    <a:shade val="67500"/>
                    <a:satMod val="115000"/>
                  </a:srgbClr>
                </a:gs>
                <a:gs pos="100000">
                  <a:srgbClr val="FFFFFF">
                    <a:lumMod val="75000"/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127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4" name="Picture 4">
              <a:extLst>
                <a:ext uri="{FF2B5EF4-FFF2-40B4-BE49-F238E27FC236}">
                  <a16:creationId xmlns:a16="http://schemas.microsoft.com/office/drawing/2014/main" id="{61FD125E-C91E-4A00-BC34-A681DD7C74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9" cstate="print">
              <a:duotone>
                <a:prstClr val="black"/>
                <a:srgbClr val="C0C0C0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80">
                      <a14:imgEffect>
                        <a14:backgroundRemoval t="0" b="99057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0030" y="5257713"/>
              <a:ext cx="142804" cy="127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6EEAB431-C069-45DE-A010-74F996BCB15F}"/>
              </a:ext>
            </a:extLst>
          </p:cNvPr>
          <p:cNvGrpSpPr/>
          <p:nvPr>
            <p:custDataLst>
              <p:tags r:id="rId52"/>
            </p:custDataLst>
          </p:nvPr>
        </p:nvGrpSpPr>
        <p:grpSpPr>
          <a:xfrm>
            <a:off x="2126551" y="4148973"/>
            <a:ext cx="182880" cy="178231"/>
            <a:chOff x="2259992" y="5234332"/>
            <a:chExt cx="182880" cy="178231"/>
          </a:xfrm>
        </p:grpSpPr>
        <p:pic>
          <p:nvPicPr>
            <p:cNvPr id="196" name="Picture 4" descr="http://ecx.images-amazon.com/images/I/21gbnPMvyEL._SL500_AA300_PIcountsize-100,TopRight,0,0_AA300_SH20_.jpg">
              <a:hlinkClick r:id="rId76"/>
              <a:extLst>
                <a:ext uri="{FF2B5EF4-FFF2-40B4-BE49-F238E27FC236}">
                  <a16:creationId xmlns:a16="http://schemas.microsoft.com/office/drawing/2014/main" id="{5885CC08-C39B-4A25-ADF0-6A26C3586D6A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64"/>
              </p:custDataLst>
            </p:nvPr>
          </p:nvPicPr>
          <p:blipFill rotWithShape="1">
            <a:blip r:embed="rId77" cstate="print">
              <a:extLst>
                <a:ext uri="{BEBA8EAE-BF5A-486C-A8C5-ECC9F3942E4B}">
                  <a14:imgProps xmlns:a14="http://schemas.microsoft.com/office/drawing/2010/main">
                    <a14:imgLayer r:embed="rId78">
                      <a14:imgEffect>
                        <a14:backgroundRemoval t="19000" b="78000" l="15667" r="796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72" t="22680" r="22983" b="24747"/>
            <a:stretch/>
          </p:blipFill>
          <p:spPr bwMode="auto">
            <a:xfrm>
              <a:off x="2259992" y="5234332"/>
              <a:ext cx="182880" cy="178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984D0649-0E4A-4BA3-9B2D-818845558610}"/>
                </a:ext>
              </a:extLst>
            </p:cNvPr>
            <p:cNvSpPr/>
            <p:nvPr>
              <p:custDataLst>
                <p:tags r:id="rId65"/>
              </p:custDataLst>
            </p:nvPr>
          </p:nvSpPr>
          <p:spPr>
            <a:xfrm>
              <a:off x="2313047" y="5285062"/>
              <a:ext cx="72008" cy="72008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75000"/>
                    <a:shade val="30000"/>
                    <a:satMod val="115000"/>
                  </a:srgbClr>
                </a:gs>
                <a:gs pos="50000">
                  <a:srgbClr val="FFFFFF">
                    <a:lumMod val="75000"/>
                    <a:shade val="67500"/>
                    <a:satMod val="115000"/>
                  </a:srgbClr>
                </a:gs>
                <a:gs pos="100000">
                  <a:srgbClr val="FFFFFF">
                    <a:lumMod val="75000"/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127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8" name="Picture 4">
              <a:extLst>
                <a:ext uri="{FF2B5EF4-FFF2-40B4-BE49-F238E27FC236}">
                  <a16:creationId xmlns:a16="http://schemas.microsoft.com/office/drawing/2014/main" id="{6DBB4A64-7985-42AF-BE30-424517C78A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9" cstate="print">
              <a:duotone>
                <a:prstClr val="black"/>
                <a:srgbClr val="C0C0C0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80">
                      <a14:imgEffect>
                        <a14:backgroundRemoval t="0" b="99057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0030" y="5257713"/>
              <a:ext cx="142804" cy="127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9" name="TextBox 198">
            <a:extLst>
              <a:ext uri="{FF2B5EF4-FFF2-40B4-BE49-F238E27FC236}">
                <a16:creationId xmlns:a16="http://schemas.microsoft.com/office/drawing/2014/main" id="{A92F0ABC-80C2-4B4D-A92E-E80A4876AD25}"/>
              </a:ext>
            </a:extLst>
          </p:cNvPr>
          <p:cNvSpPr txBox="1"/>
          <p:nvPr/>
        </p:nvSpPr>
        <p:spPr>
          <a:xfrm>
            <a:off x="6828631" y="3467349"/>
            <a:ext cx="1609154" cy="21235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yclic load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C9A6AAD6-2901-4BAE-BC55-3CAF4451CD2B}"/>
              </a:ext>
            </a:extLst>
          </p:cNvPr>
          <p:cNvSpPr txBox="1"/>
          <p:nvPr/>
        </p:nvSpPr>
        <p:spPr>
          <a:xfrm>
            <a:off x="5292337" y="3431240"/>
            <a:ext cx="1807603" cy="71501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ith enforced compressing force to close crack</a:t>
            </a:r>
          </a:p>
        </p:txBody>
      </p:sp>
      <p:cxnSp>
        <p:nvCxnSpPr>
          <p:cNvPr id="201" name="Straight Arrow Connector 200">
            <a:extLst>
              <a:ext uri="{FF2B5EF4-FFF2-40B4-BE49-F238E27FC236}">
                <a16:creationId xmlns:a16="http://schemas.microsoft.com/office/drawing/2014/main" id="{DDC507F2-AB5E-4D09-92F0-D958AD69FC8C}"/>
              </a:ext>
            </a:extLst>
          </p:cNvPr>
          <p:cNvCxnSpPr/>
          <p:nvPr>
            <p:custDataLst>
              <p:tags r:id="rId53"/>
            </p:custDataLst>
          </p:nvPr>
        </p:nvCxnSpPr>
        <p:spPr>
          <a:xfrm>
            <a:off x="8115796" y="4245905"/>
            <a:ext cx="250260" cy="502"/>
          </a:xfrm>
          <a:prstGeom prst="straightConnector1">
            <a:avLst/>
          </a:prstGeom>
          <a:noFill/>
          <a:ln w="2857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tailEnd type="arrow"/>
          </a:ln>
          <a:effectLst/>
        </p:spPr>
      </p:cxnSp>
      <p:cxnSp>
        <p:nvCxnSpPr>
          <p:cNvPr id="202" name="Straight Arrow Connector 201">
            <a:extLst>
              <a:ext uri="{FF2B5EF4-FFF2-40B4-BE49-F238E27FC236}">
                <a16:creationId xmlns:a16="http://schemas.microsoft.com/office/drawing/2014/main" id="{B12CD4E6-CC5E-48EC-A20D-8E3AAEBCF559}"/>
              </a:ext>
            </a:extLst>
          </p:cNvPr>
          <p:cNvCxnSpPr/>
          <p:nvPr>
            <p:custDataLst>
              <p:tags r:id="rId54"/>
            </p:custDataLst>
          </p:nvPr>
        </p:nvCxnSpPr>
        <p:spPr>
          <a:xfrm flipH="1">
            <a:off x="6458363" y="4228891"/>
            <a:ext cx="250260" cy="502"/>
          </a:xfrm>
          <a:prstGeom prst="straightConnector1">
            <a:avLst/>
          </a:prstGeom>
          <a:noFill/>
          <a:ln w="2857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tailEnd type="arrow"/>
          </a:ln>
          <a:effectLst/>
        </p:spPr>
      </p:cxnSp>
      <p:cxnSp>
        <p:nvCxnSpPr>
          <p:cNvPr id="203" name="Straight Arrow Connector 202">
            <a:extLst>
              <a:ext uri="{FF2B5EF4-FFF2-40B4-BE49-F238E27FC236}">
                <a16:creationId xmlns:a16="http://schemas.microsoft.com/office/drawing/2014/main" id="{ABCDE51E-C750-425E-81F1-AEF68896B227}"/>
              </a:ext>
            </a:extLst>
          </p:cNvPr>
          <p:cNvCxnSpPr/>
          <p:nvPr>
            <p:custDataLst>
              <p:tags r:id="rId55"/>
            </p:custDataLst>
          </p:nvPr>
        </p:nvCxnSpPr>
        <p:spPr>
          <a:xfrm flipH="1">
            <a:off x="6734381" y="4231478"/>
            <a:ext cx="250260" cy="502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headEnd type="arrow" w="med" len="med"/>
            <a:tailEnd type="none" w="med" len="med"/>
          </a:ln>
          <a:effectLst/>
        </p:spPr>
      </p:cxn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959C7F51-5B0F-4B52-84E7-C8079D86C091}"/>
              </a:ext>
            </a:extLst>
          </p:cNvPr>
          <p:cNvCxnSpPr/>
          <p:nvPr>
            <p:custDataLst>
              <p:tags r:id="rId56"/>
            </p:custDataLst>
          </p:nvPr>
        </p:nvCxnSpPr>
        <p:spPr>
          <a:xfrm flipH="1">
            <a:off x="7836864" y="4250850"/>
            <a:ext cx="250260" cy="502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F4C62A7E-F9B8-44DA-8806-C34292CD7769}"/>
              </a:ext>
            </a:extLst>
          </p:cNvPr>
          <p:cNvCxnSpPr/>
          <p:nvPr>
            <p:custDataLst>
              <p:tags r:id="rId57"/>
            </p:custDataLst>
          </p:nvPr>
        </p:nvCxnSpPr>
        <p:spPr>
          <a:xfrm>
            <a:off x="6390644" y="3864506"/>
            <a:ext cx="427856" cy="348204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206" name="Straight Arrow Connector 205">
            <a:extLst>
              <a:ext uri="{FF2B5EF4-FFF2-40B4-BE49-F238E27FC236}">
                <a16:creationId xmlns:a16="http://schemas.microsoft.com/office/drawing/2014/main" id="{033C4F4F-040A-4CEB-98AA-7C2E350DB5B2}"/>
              </a:ext>
            </a:extLst>
          </p:cNvPr>
          <p:cNvCxnSpPr/>
          <p:nvPr/>
        </p:nvCxnSpPr>
        <p:spPr>
          <a:xfrm flipV="1">
            <a:off x="1864100" y="1943835"/>
            <a:ext cx="0" cy="450342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arrow"/>
          </a:ln>
          <a:effectLst/>
        </p:spPr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051468A6-DBA3-4FBC-AA6A-55D3C3415A58}"/>
              </a:ext>
            </a:extLst>
          </p:cNvPr>
          <p:cNvCxnSpPr/>
          <p:nvPr/>
        </p:nvCxnSpPr>
        <p:spPr>
          <a:xfrm>
            <a:off x="1864100" y="2394177"/>
            <a:ext cx="843572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arrow"/>
          </a:ln>
          <a:effectLst/>
        </p:spPr>
      </p:cxnSp>
      <p:pic>
        <p:nvPicPr>
          <p:cNvPr id="208" name="Picture 2">
            <a:extLst>
              <a:ext uri="{FF2B5EF4-FFF2-40B4-BE49-F238E27FC236}">
                <a16:creationId xmlns:a16="http://schemas.microsoft.com/office/drawing/2014/main" id="{6D17805A-E334-4A1D-9F5A-D25C2E27BD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179" y="1982641"/>
            <a:ext cx="455790" cy="410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9" name="TextBox 208">
            <a:extLst>
              <a:ext uri="{FF2B5EF4-FFF2-40B4-BE49-F238E27FC236}">
                <a16:creationId xmlns:a16="http://schemas.microsoft.com/office/drawing/2014/main" id="{AD66EA0B-3FEA-454E-926D-CE624F111734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1612699" y="1880269"/>
            <a:ext cx="3145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98A68416-4018-499B-8384-02C3B2B70372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2463694" y="2129610"/>
            <a:ext cx="243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</a:t>
            </a:r>
          </a:p>
        </p:txBody>
      </p: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4DAAF849-C01B-467D-AF45-B6273E41ECF4}"/>
              </a:ext>
            </a:extLst>
          </p:cNvPr>
          <p:cNvCxnSpPr/>
          <p:nvPr>
            <p:custDataLst>
              <p:tags r:id="rId60"/>
            </p:custDataLst>
          </p:nvPr>
        </p:nvCxnSpPr>
        <p:spPr>
          <a:xfrm flipV="1">
            <a:off x="7529453" y="1942477"/>
            <a:ext cx="0" cy="441873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A5F75C36-F402-4626-8437-A4487DC11944}"/>
              </a:ext>
            </a:extLst>
          </p:cNvPr>
          <p:cNvCxnSpPr/>
          <p:nvPr>
            <p:custDataLst>
              <p:tags r:id="rId61"/>
            </p:custDataLst>
          </p:nvPr>
        </p:nvCxnSpPr>
        <p:spPr>
          <a:xfrm flipV="1">
            <a:off x="7379757" y="2173239"/>
            <a:ext cx="0" cy="220938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sp>
        <p:nvSpPr>
          <p:cNvPr id="213" name="TextBox 212">
            <a:extLst>
              <a:ext uri="{FF2B5EF4-FFF2-40B4-BE49-F238E27FC236}">
                <a16:creationId xmlns:a16="http://schemas.microsoft.com/office/drawing/2014/main" id="{21EE3C92-2C28-4A40-8AAB-75135980EF91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5723958" y="1893858"/>
            <a:ext cx="1588890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ad increasing along with crack cycling range increasing</a:t>
            </a:r>
          </a:p>
        </p:txBody>
      </p:sp>
      <p:cxnSp>
        <p:nvCxnSpPr>
          <p:cNvPr id="214" name="Straight Arrow Connector 213">
            <a:extLst>
              <a:ext uri="{FF2B5EF4-FFF2-40B4-BE49-F238E27FC236}">
                <a16:creationId xmlns:a16="http://schemas.microsoft.com/office/drawing/2014/main" id="{A8940984-5F97-4F10-AC68-DEE3A1B5D3EC}"/>
              </a:ext>
            </a:extLst>
          </p:cNvPr>
          <p:cNvCxnSpPr/>
          <p:nvPr>
            <p:custDataLst>
              <p:tags r:id="rId63"/>
            </p:custDataLst>
          </p:nvPr>
        </p:nvCxnSpPr>
        <p:spPr>
          <a:xfrm flipV="1">
            <a:off x="2463694" y="1942476"/>
            <a:ext cx="0" cy="441873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sp>
        <p:nvSpPr>
          <p:cNvPr id="215" name="Content Placeholder 5">
            <a:extLst>
              <a:ext uri="{FF2B5EF4-FFF2-40B4-BE49-F238E27FC236}">
                <a16:creationId xmlns:a16="http://schemas.microsoft.com/office/drawing/2014/main" id="{B59AC9ED-6596-4472-99CC-05926458B23F}"/>
              </a:ext>
            </a:extLst>
          </p:cNvPr>
          <p:cNvSpPr txBox="1">
            <a:spLocks/>
          </p:cNvSpPr>
          <p:nvPr/>
        </p:nvSpPr>
        <p:spPr>
          <a:xfrm>
            <a:off x="1059531" y="4856359"/>
            <a:ext cx="9760869" cy="116502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900" marR="0" indent="-180900" algn="l" defTabSz="914378" rtl="0" eaLnBrk="1" fontAlgn="auto" latinLnBrk="0" hangingPunct="1">
              <a:lnSpc>
                <a:spcPct val="107000"/>
              </a:lnSpc>
              <a:spcBef>
                <a:spcPts val="750"/>
              </a:spcBef>
              <a:spcAft>
                <a:spcPts val="0"/>
              </a:spcAft>
              <a:buClr>
                <a:srgbClr val="524F53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9100" marR="0" indent="-179996" algn="l" defTabSz="914378" rtl="0" eaLnBrk="1" fontAlgn="auto" latinLnBrk="0" hangingPunct="1">
              <a:lnSpc>
                <a:spcPct val="107000"/>
              </a:lnSpc>
              <a:spcBef>
                <a:spcPts val="45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–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marR="0" indent="-179996" algn="l" defTabSz="914378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900" marR="0" indent="-179996" algn="l" defTabSz="914378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–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100" marR="0" indent="-180900" algn="l" defTabSz="914378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isplacement during load/crack cycling is less than 7mm</a:t>
            </a:r>
          </a:p>
          <a:p>
            <a:r>
              <a:rPr lang="en-US"/>
              <a:t>After load/crack cycling, capacity of fastening system can still reach 90% static resistance</a:t>
            </a:r>
          </a:p>
          <a:p>
            <a:r>
              <a:rPr lang="en-US"/>
              <a:t>Resistance scatter is within the limit as static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95179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2.5.wmv">
            <a:hlinkClick r:id="" action="ppaction://media"/>
          </p:cNvPr>
          <p:cNvPicPr>
            <a:picLocks noGrp="1" noChangeAspect="1"/>
          </p:cNvPicPr>
          <p:nvPr>
            <p:ph type="pic" sz="quarter" idx="14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-11459" t="7254" r="-14443" b="5880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067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ESENTER_VERSION" val="6"/>
  <p:tag name="ARTICULATE_PROJECT_CHECK" val="0"/>
  <p:tag name="THINKCELLPRESENTATIONDONOTDELETE" val="&lt;?xml version=&quot;1.0&quot; encoding=&quot;UTF-16&quot; standalone=&quot;yes&quot;?&gt;&#10;&lt;root reqver=&quot;17839&quot;&gt;&lt;version val=&quot;2108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6&quot;&gt;&lt;elem m_fUsage=&quot;4.03881269117765560000E+000&quot;&gt;&lt;m_ppcolschidx val=&quot;0&quot;/&gt;&lt;m_rgb r=&quot;d1&quot; g=&quot;0&quot; b=&quot;24&quot;/&gt;&lt;/elem&gt;&lt;elem m_fUsage=&quot;1.69032883231248920000E+000&quot;&gt;&lt;m_ppcolschidx val=&quot;0&quot;/&gt;&lt;m_rgb r=&quot;ef&quot; g=&quot;ef&quot; b=&quot;ef&quot;/&gt;&lt;/elem&gt;&lt;elem m_fUsage=&quot;7.29000000000000090000E-001&quot;&gt;&lt;m_ppcolschidx val=&quot;0&quot;/&gt;&lt;m_rgb r=&quot;f0&quot; g=&quot;f0&quot; b=&quot;f0&quot;/&gt;&lt;/elem&gt;&lt;elem m_fUsage=&quot;6.56100000000000130000E-001&quot;&gt;&lt;m_ppcolschidx val=&quot;0&quot;/&gt;&lt;m_rgb r=&quot;e0&quot; g=&quot;e0&quot; b=&quot;e0&quot;/&gt;&lt;/elem&gt;&lt;elem m_fUsage=&quot;5.90490000000000180000E-001&quot;&gt;&lt;m_ppcolschidx val=&quot;0&quot;/&gt;&lt;m_rgb r=&quot;b5&quot; g=&quot;b5&quot; b=&quot;b5&quot;/&gt;&lt;/elem&gt;&lt;elem m_fUsage=&quot;5.31441000000000160000E-001&quot;&gt;&lt;m_ppcolschidx val=&quot;0&quot;/&gt;&lt;m_rgb r=&quot;7d&quot; g=&quot;7d&quot; b=&quot;7d&quot;/&gt;&lt;/elem&gt;&lt;elem m_fUsage=&quot;4.78296900000000140000E-001&quot;&gt;&lt;m_ppcolschidx val=&quot;0&quot;/&gt;&lt;m_rgb r=&quot;8b&quot; g=&quot;8b&quot; b=&quot;8b&quot;/&gt;&lt;/elem&gt;&lt;elem m_fUsage=&quot;4.30467210000000160000E-001&quot;&gt;&lt;m_ppcolschidx val=&quot;0&quot;/&gt;&lt;m_rgb r=&quot;62&quot; g=&quot;62&quot; b=&quot;62&quot;/&gt;&lt;/elem&gt;&lt;elem m_fUsage=&quot;3.48678440100000150000E-001&quot;&gt;&lt;m_ppcolschidx val=&quot;0&quot;/&gt;&lt;m_rgb r=&quot;51&quot; g=&quot;51&quot; b=&quot;51&quot;/&gt;&lt;/elem&gt;&lt;elem m_fUsage=&quot;2.54186582832900130000E-001&quot;&gt;&lt;m_ppcolschidx val=&quot;0&quot;/&gt;&lt;m_rgb r=&quot;fe&quot; g=&quot;de&quot; b=&quot;de&quot;/&gt;&lt;/elem&gt;&lt;elem m_fUsage=&quot;9.84770902183611930000E-002&quot;&gt;&lt;m_ppcolschidx val=&quot;0&quot;/&gt;&lt;m_rgb r=&quot;db&quot; g=&quot;ef&quot; b=&quot;da&quot;/&gt;&lt;/elem&gt;&lt;elem m_fUsage=&quot;8.86293811965250810000E-002&quot;&gt;&lt;m_ppcolschidx val=&quot;0&quot;/&gt;&lt;m_rgb r=&quot;76&quot; g=&quot;bb&quot; b=&quot;6c&quot;/&gt;&lt;/elem&gt;&lt;elem m_fUsage=&quot;5.81497370030401100000E-002&quot;&gt;&lt;m_ppcolschidx val=&quot;0&quot;/&gt;&lt;m_rgb r=&quot;8c&quot; g=&quot;0&quot; b=&quot;18&quot;/&gt;&lt;/elem&gt;&lt;elem m_fUsage=&quot;2.06323185090444720000E-003&quot;&gt;&lt;m_ppcolschidx val=&quot;0&quot;/&gt;&lt;m_rgb r=&quot;ce&quot; g=&quot;ce&quot; b=&quot;ce&quot;/&gt;&lt;/elem&gt;&lt;elem m_fUsage=&quot;1.17901845777385980000E-003&quot;&gt;&lt;m_ppcolschidx val=&quot;0&quot;/&gt;&lt;m_rgb r=&quot;f0&quot; g=&quot;8e&quot; b=&quot;4d&quot;/&gt;&lt;/elem&gt;&lt;elem m_fUsage=&quot;7.02978121566742390000E-004&quot;&gt;&lt;m_ppcolschidx val=&quot;0&quot;/&gt;&lt;m_rgb r=&quot;fd&quot; g=&quot;cc&quot; b=&quot;cc&quot;/&gt;&lt;/elem&gt;&lt;/m_vecMRU&gt;&lt;/m_mruColor&gt;&lt;m_mapectfillschemeMRU&gt;&lt;key val=&quot;0&quot;/&gt;&lt;elem&gt;&lt;m_nPartnerID val=&quot;530&quot;/&gt;&lt;m_nIndex val=&quot;5&quot;/&gt;&lt;/elem&gt;&lt;key val=&quot;11&quot;/&gt;&lt;elem&gt;&lt;m_nPartnerID val=&quot;530&quot;/&gt;&lt;m_nIndex val=&quot;0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ARTICULATE_SLIDE_COUNT" val="63"/>
  <p:tag name="ARTICULATE_PROJECT_OPEN" val="0"/>
  <p:tag name="THINKCELLUNDODONOTDELETE" val="245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4AOlUYUGGGPburOdfW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bTI2R9gU.f5BNUaZGGv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OBznhMHkCxrlb0phZiD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Bu5iUkyESvtEYVBWXXW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.MD2iBLEW.jigBvZJFx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Bu5iUkyESvtEYVBWXXW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.MD2iBLEW.jigBvZJFx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Bu5iUkyESvtEYVBWXXW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.MD2iBLEW.jigBvZJF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ity7_HJ0q6M05qn.ku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1MBOThiUe3DUj9528p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Ab.JrK3E2juGJuVXmz3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sUqnpVjUqzTmO3tpWW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JXaOALBUmGUuhXzSsa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wgxZs3T0OESRZJ_mre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pSnfST6kG7.b7sJIBV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rKVxMijUOnRK4Tvm7S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Kc_.woh0GzD_7FjI.l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3MtdrluE6JKY3G6UTC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luWLW_Skmsvpky_qUH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bfVFVtBECojlcgSvnS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b9oNhBV0K3DFKZdszp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zfH4ZiM0amqXUBAusz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ZBw6bAOki1iCyHr1hs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YqV03gkyMH6c1j2A6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f8AzWjLUGEFSYiF0Tk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7xcY..10WaqG3oRZrs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cywPgSE0.m3aUOtvzy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4wNSzjt02l.pvIjkON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ovOWBKa0iKvA9ZEK1c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IeY87XmUavdtd8yXjj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otI11e50y19I95jYqx3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9BtovmHk2QZ.NxkUEbL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Bu5iUkyESvtEYVBWXX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.MD2iBLEW.jigBvZJF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Bu5iUkyESvtEYVBWXXW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.MD2iBLEW.jigBvZJFx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239"/>
  <p:tag name="MIO_FALLBACK_LAYOUT" val="2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28"/>
  <p:tag name="MIO_HDS" val="True"/>
  <p:tag name="MIO_SKIPVERSION" val="01.01.0001 00:00:00"/>
  <p:tag name="MIO_EKGUID" val="6acabffb-130b-40f0-b278-c085f4ae0f7e"/>
  <p:tag name="MIO_UPDATE" val="True"/>
  <p:tag name="MIO_VERSION" val="31.03.2017 07:17:32"/>
  <p:tag name="MIO_DBID" val="FD168E44-D19A-49E0-8D8E-6CA0A525F0E0"/>
  <p:tag name="MIO_LASTDOWNLOADED" val="05.04.2017 12:01:24"/>
  <p:tag name="MIO_OBJECTNAME" val="Hilti Template 16:9"/>
  <p:tag name="MIO_CDID" val="451eeb19-c04f-4baa-b219-473a5b7aed7c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AdvIo5i0ujbnRqrpg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szh3iRxkmhAf1sM9D7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15csZ9bEaXGe9h1djes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J0s7N.EEel9HnsDMgZ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Z_1G2Gj0.zkyw.mnRN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FW_JqzLk.bY06sTzM_.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W8khGfkG96U.73aNb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TRRhw_REWoTPg3JzMB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zmkqF.5E2F6Bk6K89gK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raRr07mUqoBuI8wqeT1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rCvahkmE6mJs7ZtrPN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YWHuWeq0u1BfuauybA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WTCrONrkynqV186pC.U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xmU7qR2ESzsebZj2KS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MtimSXwk6d7nFdI.zN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nPC0OeZ0KsOfOZErNh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537mcISkuZZvkIbd0kD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tSt8m950CWOS3FBl0W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7jIA4LQUCR3MG7lfO4x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N8BygHw0SLEF5ALBIo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7qMpjbjEiX9UgRWLAK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fWOyL4PkCID6i0g_KO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1mhWC77UCg0yPbnElv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M_67yZKEaw2vILRU4e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xXHMtVBUCyjZMlexUk0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OGdENxNUidSKit_lIb5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rzI_Yhd0KbbGhCiMDr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DItzIZfkyENq_9Rws6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MBpgrQgk.gHUCA1q3r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xyT6mWt0auEC96v9I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P8RcRQmUS.5UocKW21B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cxQEAs30.g5axdKidAf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LeAZ5CnkqXIZkAuiAr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iTqx8pIUqy6CrvVIFg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O1BeUuF0iAuVfW2zEvj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iBb4SX60yTM9r_Zk7T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PD0bltGEum54xwY.iQX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_jU9u4vUuzmNVCqiO28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xBLon8jEKhWeZhfPwpi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pgG8wPDkCt9QR_1xZM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i69h7qk.VXxiht5occ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T34aWbcEiYY.D._oG8i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0CpIwcx06Cf9wyyUmo4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tZ3rBedkyJCj7ErrIaR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9q3VZiJEyo.hzBJwp0b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J3tWVEoE.EtPsPx.vM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P8qCpLx0uKwKXki.Xl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qgz18uwUS37qTTUK3GL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bTI2R9gU.f5BNUaZGGv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96p_fiy0Gxm5pQ99TQz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qgz18uwUS37qTTUK3G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uhfnKYNES6g8EDu0AH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qgz18uwUS37qTTUK3GL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MtimSXwk6d7nFdI.zNz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537mcISkuZZvkIbd0k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537mcISkuZZvkIbd0kD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537mcISkuZZvkIbd0kD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tZ3rBedkyJCj7ErrIaR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0CpIwcx06Cf9wyyUmo4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0CpIwcx06Cf9wyyUmo4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OBznhMHkCxrlb0phZiD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KTTPqJfEGpi_eyePSe4A"/>
</p:tagLst>
</file>

<file path=ppt/theme/theme1.xml><?xml version="1.0" encoding="utf-8"?>
<a:theme xmlns:a="http://schemas.openxmlformats.org/drawingml/2006/main" name="HILTI Master 16:9">
  <a:themeElements>
    <a:clrScheme name="Hilti_Colors">
      <a:dk1>
        <a:srgbClr val="000000"/>
      </a:dk1>
      <a:lt1>
        <a:srgbClr val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D7CEBD"/>
      </a:accent6>
      <a:hlink>
        <a:srgbClr val="000000"/>
      </a:hlink>
      <a:folHlink>
        <a:srgbClr val="000000"/>
      </a:folHlink>
    </a:clrScheme>
    <a:fontScheme name="Hil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9" id="{EE500EA7-0032-4D9B-91D3-BA87DADDF3FC}" vid="{809F8B28-D7C7-40A8-984A-609B3D67B7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4DE39AD5B56643A8A1A6123B8F1F4B" ma:contentTypeVersion="" ma:contentTypeDescription="Create a new document." ma:contentTypeScope="" ma:versionID="7f54ae5711d8577215c1b1ab16f67ae7">
  <xsd:schema xmlns:xsd="http://www.w3.org/2001/XMLSchema" xmlns:xs="http://www.w3.org/2001/XMLSchema" xmlns:p="http://schemas.microsoft.com/office/2006/metadata/properties" xmlns:ns2="f987346c-c31c-44b1-b492-0fc48aaf916a" xmlns:ns3="dc431e2b-dd59-4382-91e7-4bbf259c6b45" targetNamespace="http://schemas.microsoft.com/office/2006/metadata/properties" ma:root="true" ma:fieldsID="49a5c941a22253b6362f58e765dd8317" ns2:_="" ns3:_="">
    <xsd:import namespace="f987346c-c31c-44b1-b492-0fc48aaf916a"/>
    <xsd:import namespace="dc431e2b-dd59-4382-91e7-4bbf259c6b4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87346c-c31c-44b1-b492-0fc48aaf916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431e2b-dd59-4382-91e7-4bbf259c6b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8C59CB0-4037-4C2C-9A00-BD6693802345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c431e2b-dd59-4382-91e7-4bbf259c6b45"/>
    <ds:schemaRef ds:uri="http://purl.org/dc/terms/"/>
    <ds:schemaRef ds:uri="f987346c-c31c-44b1-b492-0fc48aaf916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716973-2F7A-420C-A50C-C4AD4BB08D8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58E0A03-1BA9-4E28-8B70-D62F72F578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87346c-c31c-44b1-b492-0fc48aaf916a"/>
    <ds:schemaRef ds:uri="dc431e2b-dd59-4382-91e7-4bbf259c6b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79</TotalTime>
  <Words>169</Words>
  <Application>Microsoft Office PowerPoint</Application>
  <PresentationFormat>On-screen Show (4:3)</PresentationFormat>
  <Paragraphs>27</Paragraphs>
  <Slides>3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Symbol</vt:lpstr>
      <vt:lpstr>HILTI Master 16:9</vt:lpstr>
      <vt:lpstr>think-cell Slide</vt:lpstr>
      <vt:lpstr>PowerPoint Presentation</vt:lpstr>
      <vt:lpstr>PowerPoint Presentation</vt:lpstr>
      <vt:lpstr>PowerPoint Presentation</vt:lpstr>
    </vt:vector>
  </TitlesOfParts>
  <Company>Hilt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ismic Update &amp; Business Potential</dc:title>
  <dc:creator>jorge.gramaxo@hilti.com</dc:creator>
  <cp:keywords>Seismic, Sales, Potential, Markets</cp:keywords>
  <cp:lastModifiedBy>Chouhan, Vipul</cp:lastModifiedBy>
  <cp:revision>685</cp:revision>
  <cp:lastPrinted>2014-11-19T01:17:46Z</cp:lastPrinted>
  <dcterms:created xsi:type="dcterms:W3CDTF">2010-10-13T13:45:05Z</dcterms:created>
  <dcterms:modified xsi:type="dcterms:W3CDTF">2018-07-27T10:09:14Z</dcterms:modified>
  <cp:category>Seismic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Seismic Potential_BU Anchors Potential AM AC</vt:lpwstr>
  </property>
  <property fmtid="{D5CDD505-2E9C-101B-9397-08002B2CF9AE}" pid="4" name="ArticulateGUID">
    <vt:lpwstr>EF4B8FBF-8C81-408C-A97B-4572F07C6FCA</vt:lpwstr>
  </property>
  <property fmtid="{D5CDD505-2E9C-101B-9397-08002B2CF9AE}" pid="5" name="ArticulateProjectFull">
    <vt:lpwstr>C:\Users\gramaxo\Documents\01 HILTI Schaan\01 Tech Marketing Initiatives\01 Seismic\01 Initiative - New ETA\Meetings and trainings\2014_11Nov Seismic Academy Rome\Seismic Academy_Gramaxo112014_1hour.ppta</vt:lpwstr>
  </property>
  <property fmtid="{D5CDD505-2E9C-101B-9397-08002B2CF9AE}" pid="6" name="ContentTypeId">
    <vt:lpwstr>0x010100C64DE39AD5B56643A8A1A6123B8F1F4B</vt:lpwstr>
  </property>
</Properties>
</file>